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5"/>
    <p:sldMasterId id="2147483729" r:id="rId6"/>
  </p:sldMasterIdLst>
  <p:notesMasterIdLst>
    <p:notesMasterId r:id="rId11"/>
  </p:notesMasterIdLst>
  <p:handoutMasterIdLst>
    <p:handoutMasterId r:id="rId12"/>
  </p:handoutMasterIdLst>
  <p:sldIdLst>
    <p:sldId id="2147349635" r:id="rId7"/>
    <p:sldId id="2147483432" r:id="rId8"/>
    <p:sldId id="256" r:id="rId9"/>
    <p:sldId id="2147351320" r:id="rId10"/>
  </p:sldIdLst>
  <p:sldSz cx="12192000" cy="6858000"/>
  <p:notesSz cx="6724650" cy="9774238"/>
  <p:custDataLst>
    <p:tags r:id="rId13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8EA"/>
    <a:srgbClr val="E1F1FF"/>
    <a:srgbClr val="DDEFFF"/>
    <a:srgbClr val="818E98"/>
    <a:srgbClr val="F2F3F4"/>
    <a:srgbClr val="D4D6DC"/>
    <a:srgbClr val="0074F2"/>
    <a:srgbClr val="67A9E3"/>
    <a:srgbClr val="6685AE"/>
    <a:srgbClr val="8996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9874" autoAdjust="0"/>
  </p:normalViewPr>
  <p:slideViewPr>
    <p:cSldViewPr snapToGrid="0" showGuides="1">
      <p:cViewPr varScale="1">
        <p:scale>
          <a:sx n="103" d="100"/>
          <a:sy n="103" d="100"/>
        </p:scale>
        <p:origin x="828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5424"/>
    </p:cViewPr>
  </p:sorterViewPr>
  <p:notesViewPr>
    <p:cSldViewPr snapToGrid="0">
      <p:cViewPr varScale="1">
        <p:scale>
          <a:sx n="78" d="100"/>
          <a:sy n="78" d="100"/>
        </p:scale>
        <p:origin x="397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981521028895586E-2"/>
          <c:y val="1.2242590456791016E-2"/>
          <c:w val="0.95298318805189686"/>
          <c:h val="0.85418118222551165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Historic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E-BA8E-446A-B141-EBC2DD35BC4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F-BA8E-446A-B141-EBC2DD35BC4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0-BA8E-446A-B141-EBC2DD35BC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2-BA8E-446A-B141-EBC2DD35BC4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1-BA8E-446A-B141-EBC2DD35BC4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3-BA8E-446A-B141-EBC2DD35BC4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E-BA8E-446A-B141-EBC2DD35BC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35</c:f>
              <c:numCache>
                <c:formatCode>General</c:formatCode>
                <c:ptCount val="3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  <c:pt idx="14">
                  <c:v>2031</c:v>
                </c:pt>
                <c:pt idx="15">
                  <c:v>2032</c:v>
                </c:pt>
                <c:pt idx="16">
                  <c:v>2033</c:v>
                </c:pt>
                <c:pt idx="17">
                  <c:v>2034</c:v>
                </c:pt>
                <c:pt idx="18">
                  <c:v>2035</c:v>
                </c:pt>
                <c:pt idx="19">
                  <c:v>2036</c:v>
                </c:pt>
                <c:pt idx="20">
                  <c:v>2037</c:v>
                </c:pt>
                <c:pt idx="21">
                  <c:v>2038</c:v>
                </c:pt>
                <c:pt idx="22">
                  <c:v>2039</c:v>
                </c:pt>
                <c:pt idx="23">
                  <c:v>2040</c:v>
                </c:pt>
                <c:pt idx="24">
                  <c:v>2041</c:v>
                </c:pt>
                <c:pt idx="25">
                  <c:v>2042</c:v>
                </c:pt>
                <c:pt idx="26">
                  <c:v>2043</c:v>
                </c:pt>
                <c:pt idx="27">
                  <c:v>2044</c:v>
                </c:pt>
                <c:pt idx="28">
                  <c:v>2045</c:v>
                </c:pt>
                <c:pt idx="29">
                  <c:v>2046</c:v>
                </c:pt>
                <c:pt idx="30">
                  <c:v>2047</c:v>
                </c:pt>
                <c:pt idx="31">
                  <c:v>2048</c:v>
                </c:pt>
                <c:pt idx="32">
                  <c:v>2049</c:v>
                </c:pt>
                <c:pt idx="33">
                  <c:v>2050</c:v>
                </c:pt>
              </c:numCache>
            </c:numRef>
          </c:cat>
          <c:val>
            <c:numRef>
              <c:f>Hoja1!$B$2:$B$35</c:f>
              <c:numCache>
                <c:formatCode>General</c:formatCode>
                <c:ptCount val="34"/>
                <c:pt idx="0">
                  <c:v>2.5</c:v>
                </c:pt>
                <c:pt idx="1">
                  <c:v>2</c:v>
                </c:pt>
                <c:pt idx="2">
                  <c:v>1.5</c:v>
                </c:pt>
                <c:pt idx="3">
                  <c:v>1</c:v>
                </c:pt>
                <c:pt idx="4">
                  <c:v>1.5</c:v>
                </c:pt>
                <c:pt idx="5">
                  <c:v>1.9</c:v>
                </c:pt>
                <c:pt idx="6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A8E-446A-B141-EBC2DD35BC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cenario 1 ''Do-nothing''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-3.0330957796044694E-2"/>
                  <c:y val="-4.89889996756499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D-BA8E-446A-B141-EBC2DD35BC4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4-BA8E-446A-B141-EBC2DD35BC4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5-BA8E-446A-B141-EBC2DD35BC4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6-BA8E-446A-B141-EBC2DD35BC4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7-BA8E-446A-B141-EBC2DD35BC49}"/>
                </c:ext>
              </c:extLst>
            </c:dLbl>
            <c:dLbl>
              <c:idx val="11"/>
              <c:layout>
                <c:manualLayout>
                  <c:x val="4.8195801229593091E-2"/>
                  <c:y val="-8.39842842248845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0-BA8E-446A-B141-EBC2DD35BC49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8-BA8E-446A-B141-EBC2DD35BC49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A-BA8E-446A-B141-EBC2DD35BC49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9-BA8E-446A-B141-EBC2DD35BC49}"/>
                </c:ext>
              </c:extLst>
            </c:dLbl>
            <c:dLbl>
              <c:idx val="15"/>
              <c:layout>
                <c:manualLayout>
                  <c:x val="7.1753830343854477E-2"/>
                  <c:y val="-0.1151714561319918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8E-446A-B141-EBC2DD35BC49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A8E-446A-B141-EBC2DD35BC49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8E-446A-B141-EBC2DD35BC49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8E-446A-B141-EBC2DD35BC49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8E-446A-B141-EBC2DD35BC49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B-BA8E-446A-B141-EBC2DD35BC49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A8E-446A-B141-EBC2DD35BC49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8E-446A-B141-EBC2DD35BC49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A8E-446A-B141-EBC2DD35BC49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8E-446A-B141-EBC2DD35BC49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A8E-446A-B141-EBC2DD35BC49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A8E-446A-B141-EBC2DD35BC49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A8E-446A-B141-EBC2DD35BC49}"/>
                </c:ext>
              </c:extLst>
            </c:dLbl>
            <c:dLbl>
              <c:idx val="28"/>
              <c:layout>
                <c:manualLayout>
                  <c:x val="-4.5658514054356281E-2"/>
                  <c:y val="-5.07506010980627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A8E-446A-B141-EBC2DD35BC49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A8E-446A-B141-EBC2DD35BC49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A8E-446A-B141-EBC2DD35BC49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A8E-446A-B141-EBC2DD35BC49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A8E-446A-B141-EBC2DD35BC49}"/>
                </c:ext>
              </c:extLst>
            </c:dLbl>
            <c:dLbl>
              <c:idx val="33"/>
              <c:layout>
                <c:manualLayout>
                  <c:x val="-1.2258056836982638E-2"/>
                  <c:y val="-2.48058824224613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A8E-446A-B141-EBC2DD35BC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35</c:f>
              <c:numCache>
                <c:formatCode>General</c:formatCode>
                <c:ptCount val="3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  <c:pt idx="14">
                  <c:v>2031</c:v>
                </c:pt>
                <c:pt idx="15">
                  <c:v>2032</c:v>
                </c:pt>
                <c:pt idx="16">
                  <c:v>2033</c:v>
                </c:pt>
                <c:pt idx="17">
                  <c:v>2034</c:v>
                </c:pt>
                <c:pt idx="18">
                  <c:v>2035</c:v>
                </c:pt>
                <c:pt idx="19">
                  <c:v>2036</c:v>
                </c:pt>
                <c:pt idx="20">
                  <c:v>2037</c:v>
                </c:pt>
                <c:pt idx="21">
                  <c:v>2038</c:v>
                </c:pt>
                <c:pt idx="22">
                  <c:v>2039</c:v>
                </c:pt>
                <c:pt idx="23">
                  <c:v>2040</c:v>
                </c:pt>
                <c:pt idx="24">
                  <c:v>2041</c:v>
                </c:pt>
                <c:pt idx="25">
                  <c:v>2042</c:v>
                </c:pt>
                <c:pt idx="26">
                  <c:v>2043</c:v>
                </c:pt>
                <c:pt idx="27">
                  <c:v>2044</c:v>
                </c:pt>
                <c:pt idx="28">
                  <c:v>2045</c:v>
                </c:pt>
                <c:pt idx="29">
                  <c:v>2046</c:v>
                </c:pt>
                <c:pt idx="30">
                  <c:v>2047</c:v>
                </c:pt>
                <c:pt idx="31">
                  <c:v>2048</c:v>
                </c:pt>
                <c:pt idx="32">
                  <c:v>2049</c:v>
                </c:pt>
                <c:pt idx="33">
                  <c:v>2050</c:v>
                </c:pt>
              </c:numCache>
            </c:numRef>
          </c:cat>
          <c:val>
            <c:numRef>
              <c:f>Hoja1!$C$2:$C$35</c:f>
              <c:numCache>
                <c:formatCode>General</c:formatCode>
                <c:ptCount val="34"/>
                <c:pt idx="6">
                  <c:v>2.1</c:v>
                </c:pt>
                <c:pt idx="7">
                  <c:v>2.1</c:v>
                </c:pt>
                <c:pt idx="8">
                  <c:v>2.2999999999999998</c:v>
                </c:pt>
                <c:pt idx="9">
                  <c:v>2.6</c:v>
                </c:pt>
                <c:pt idx="10">
                  <c:v>2.9</c:v>
                </c:pt>
                <c:pt idx="11">
                  <c:v>3.2</c:v>
                </c:pt>
                <c:pt idx="12">
                  <c:v>3.6</c:v>
                </c:pt>
                <c:pt idx="13">
                  <c:v>4</c:v>
                </c:pt>
                <c:pt idx="14">
                  <c:v>4.4000000000000004</c:v>
                </c:pt>
                <c:pt idx="15">
                  <c:v>4.8</c:v>
                </c:pt>
                <c:pt idx="16">
                  <c:v>5.3</c:v>
                </c:pt>
                <c:pt idx="17">
                  <c:v>5.8</c:v>
                </c:pt>
                <c:pt idx="18">
                  <c:v>6.4</c:v>
                </c:pt>
                <c:pt idx="19">
                  <c:v>7</c:v>
                </c:pt>
                <c:pt idx="20">
                  <c:v>7.7</c:v>
                </c:pt>
                <c:pt idx="21">
                  <c:v>8.4</c:v>
                </c:pt>
                <c:pt idx="22">
                  <c:v>9.1999999999999993</c:v>
                </c:pt>
                <c:pt idx="23">
                  <c:v>10</c:v>
                </c:pt>
                <c:pt idx="24">
                  <c:v>10.9</c:v>
                </c:pt>
                <c:pt idx="25">
                  <c:v>11.8</c:v>
                </c:pt>
                <c:pt idx="26">
                  <c:v>12.8</c:v>
                </c:pt>
                <c:pt idx="27">
                  <c:v>13.8</c:v>
                </c:pt>
                <c:pt idx="28">
                  <c:v>14.1</c:v>
                </c:pt>
                <c:pt idx="29">
                  <c:v>16</c:v>
                </c:pt>
                <c:pt idx="30">
                  <c:v>17.2</c:v>
                </c:pt>
                <c:pt idx="31">
                  <c:v>18.399999999999999</c:v>
                </c:pt>
                <c:pt idx="32">
                  <c:v>19.100000000000001</c:v>
                </c:pt>
                <c:pt idx="33">
                  <c:v>19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BA8E-446A-B141-EBC2DD35BC4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cenario 2 ''Organic ATCO prod. Increase''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C-BA8E-446A-B141-EBC2DD35BC4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D-BA8E-446A-B141-EBC2DD35BC4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E-BA8E-446A-B141-EBC2DD35BC4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F-BA8E-446A-B141-EBC2DD35BC4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0-BA8E-446A-B141-EBC2DD35BC49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B-BA8E-446A-B141-EBC2DD35BC49}"/>
                </c:ext>
              </c:extLst>
            </c:dLbl>
            <c:dLbl>
              <c:idx val="12"/>
              <c:layout>
                <c:manualLayout>
                  <c:x val="2.0112590066178822E-2"/>
                  <c:y val="-3.3712214688306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F-BA8E-446A-B141-EBC2DD35BC49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1-BA8E-446A-B141-EBC2DD35BC49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2-BA8E-446A-B141-EBC2DD35BC49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BA8E-446A-B141-EBC2DD35BC49}"/>
                </c:ext>
              </c:extLst>
            </c:dLbl>
            <c:dLbl>
              <c:idx val="16"/>
              <c:layout>
                <c:manualLayout>
                  <c:x val="4.6734710631459668E-2"/>
                  <c:y val="-3.848992155394609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338259908748193E-2"/>
                      <c:h val="5.462740101703361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B-BA8E-446A-B141-EBC2DD35BC49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BA8E-446A-B141-EBC2DD35BC49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BA8E-446A-B141-EBC2DD35BC49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BA8E-446A-B141-EBC2DD35BC49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BA8E-446A-B141-EBC2DD35BC49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BA8E-446A-B141-EBC2DD35BC49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BA8E-446A-B141-EBC2DD35BC49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BA8E-446A-B141-EBC2DD35BC49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BA8E-446A-B141-EBC2DD35BC49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BA8E-446A-B141-EBC2DD35BC49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BA8E-446A-B141-EBC2DD35BC49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BA8E-446A-B141-EBC2DD35BC49}"/>
                </c:ext>
              </c:extLst>
            </c:dLbl>
            <c:dLbl>
              <c:idx val="28"/>
              <c:layout>
                <c:manualLayout>
                  <c:x val="-7.3717772337928691E-3"/>
                  <c:y val="-4.31344233706037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BA8E-446A-B141-EBC2DD35BC49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BA8E-446A-B141-EBC2DD35BC49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BA8E-446A-B141-EBC2DD35BC49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BA8E-446A-B141-EBC2DD35BC49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BA8E-446A-B141-EBC2DD35BC49}"/>
                </c:ext>
              </c:extLst>
            </c:dLbl>
            <c:dLbl>
              <c:idx val="33"/>
              <c:layout>
                <c:manualLayout>
                  <c:x val="-2.1097262956257044E-2"/>
                  <c:y val="-5.07506010980626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BA8E-446A-B141-EBC2DD35BC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35</c:f>
              <c:numCache>
                <c:formatCode>General</c:formatCode>
                <c:ptCount val="3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  <c:pt idx="14">
                  <c:v>2031</c:v>
                </c:pt>
                <c:pt idx="15">
                  <c:v>2032</c:v>
                </c:pt>
                <c:pt idx="16">
                  <c:v>2033</c:v>
                </c:pt>
                <c:pt idx="17">
                  <c:v>2034</c:v>
                </c:pt>
                <c:pt idx="18">
                  <c:v>2035</c:v>
                </c:pt>
                <c:pt idx="19">
                  <c:v>2036</c:v>
                </c:pt>
                <c:pt idx="20">
                  <c:v>2037</c:v>
                </c:pt>
                <c:pt idx="21">
                  <c:v>2038</c:v>
                </c:pt>
                <c:pt idx="22">
                  <c:v>2039</c:v>
                </c:pt>
                <c:pt idx="23">
                  <c:v>2040</c:v>
                </c:pt>
                <c:pt idx="24">
                  <c:v>2041</c:v>
                </c:pt>
                <c:pt idx="25">
                  <c:v>2042</c:v>
                </c:pt>
                <c:pt idx="26">
                  <c:v>2043</c:v>
                </c:pt>
                <c:pt idx="27">
                  <c:v>2044</c:v>
                </c:pt>
                <c:pt idx="28">
                  <c:v>2045</c:v>
                </c:pt>
                <c:pt idx="29">
                  <c:v>2046</c:v>
                </c:pt>
                <c:pt idx="30">
                  <c:v>2047</c:v>
                </c:pt>
                <c:pt idx="31">
                  <c:v>2048</c:v>
                </c:pt>
                <c:pt idx="32">
                  <c:v>2049</c:v>
                </c:pt>
                <c:pt idx="33">
                  <c:v>2050</c:v>
                </c:pt>
              </c:numCache>
            </c:numRef>
          </c:cat>
          <c:val>
            <c:numRef>
              <c:f>Hoja1!$D$2:$D$35</c:f>
              <c:numCache>
                <c:formatCode>General</c:formatCode>
                <c:ptCount val="34"/>
                <c:pt idx="6">
                  <c:v>2.1</c:v>
                </c:pt>
                <c:pt idx="7">
                  <c:v>2.1</c:v>
                </c:pt>
                <c:pt idx="8">
                  <c:v>2.1</c:v>
                </c:pt>
                <c:pt idx="9">
                  <c:v>2.2000000000000002</c:v>
                </c:pt>
                <c:pt idx="10">
                  <c:v>2.2000000000000002</c:v>
                </c:pt>
                <c:pt idx="11">
                  <c:v>2.2999999999999998</c:v>
                </c:pt>
                <c:pt idx="12">
                  <c:v>2.2999999999999998</c:v>
                </c:pt>
                <c:pt idx="13">
                  <c:v>2.4</c:v>
                </c:pt>
                <c:pt idx="14">
                  <c:v>2.4</c:v>
                </c:pt>
                <c:pt idx="15">
                  <c:v>2.5</c:v>
                </c:pt>
                <c:pt idx="16">
                  <c:v>2.5</c:v>
                </c:pt>
                <c:pt idx="17">
                  <c:v>2.6</c:v>
                </c:pt>
                <c:pt idx="18">
                  <c:v>2.6</c:v>
                </c:pt>
                <c:pt idx="19">
                  <c:v>2.7</c:v>
                </c:pt>
                <c:pt idx="20">
                  <c:v>2.7</c:v>
                </c:pt>
                <c:pt idx="21">
                  <c:v>2.8</c:v>
                </c:pt>
                <c:pt idx="22">
                  <c:v>2.8</c:v>
                </c:pt>
                <c:pt idx="23">
                  <c:v>2.9</c:v>
                </c:pt>
                <c:pt idx="24">
                  <c:v>2.9</c:v>
                </c:pt>
                <c:pt idx="25">
                  <c:v>3</c:v>
                </c:pt>
                <c:pt idx="26">
                  <c:v>3</c:v>
                </c:pt>
                <c:pt idx="27">
                  <c:v>3.1</c:v>
                </c:pt>
                <c:pt idx="28">
                  <c:v>3.1</c:v>
                </c:pt>
                <c:pt idx="29">
                  <c:v>3.2</c:v>
                </c:pt>
                <c:pt idx="30">
                  <c:v>3.2</c:v>
                </c:pt>
                <c:pt idx="31">
                  <c:v>3.3</c:v>
                </c:pt>
                <c:pt idx="32">
                  <c:v>3.3</c:v>
                </c:pt>
                <c:pt idx="33">
                  <c:v>3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3-BA8E-446A-B141-EBC2DD35BC49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Scenario 3 ''Double ATCO prod. By 2050''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3-BA8E-446A-B141-EBC2DD35BC4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4-BA8E-446A-B141-EBC2DD35BC4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5-BA8E-446A-B141-EBC2DD35BC4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6-BA8E-446A-B141-EBC2DD35BC4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7-BA8E-446A-B141-EBC2DD35BC49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8-BA8E-446A-B141-EBC2DD35BC49}"/>
                </c:ext>
              </c:extLst>
            </c:dLbl>
            <c:dLbl>
              <c:idx val="12"/>
              <c:layout>
                <c:manualLayout>
                  <c:x val="1.8149420973323779E-2"/>
                  <c:y val="2.81044068158463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A-BA8E-446A-B141-EBC2DD35BC49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9-BA8E-446A-B141-EBC2DD35BC49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C-BA8E-446A-B141-EBC2DD35BC49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BA8E-446A-B141-EBC2DD35BC49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BA8E-446A-B141-EBC2DD35BC49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BA8E-446A-B141-EBC2DD35BC49}"/>
                </c:ext>
              </c:extLst>
            </c:dLbl>
            <c:dLbl>
              <c:idx val="18"/>
              <c:layout>
                <c:manualLayout>
                  <c:x val="-7.3717772337927251E-3"/>
                  <c:y val="-1.95634593535878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BA8E-446A-B141-EBC2DD35BC49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BA8E-446A-B141-EBC2DD35BC49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BA8E-446A-B141-EBC2DD35BC49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BA8E-446A-B141-EBC2DD35BC49}"/>
                </c:ext>
              </c:extLst>
            </c:dLbl>
            <c:dLbl>
              <c:idx val="22"/>
              <c:layout>
                <c:manualLayout>
                  <c:x val="0.16035991500474212"/>
                  <c:y val="-1.54958737871934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BA8E-446A-B141-EBC2DD35BC49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BA8E-446A-B141-EBC2DD35BC49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D-BA8E-446A-B141-EBC2DD35BC49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E-BA8E-446A-B141-EBC2DD35BC49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BA8E-446A-B141-EBC2DD35BC49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BA8E-446A-B141-EBC2DD35BC49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BA8E-446A-B141-EBC2DD35BC49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2-BA8E-446A-B141-EBC2DD35BC49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BA8E-446A-B141-EBC2DD35BC49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BA8E-446A-B141-EBC2DD35BC49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5-BA8E-446A-B141-EBC2DD35BC49}"/>
                </c:ext>
              </c:extLst>
            </c:dLbl>
            <c:dLbl>
              <c:idx val="33"/>
              <c:layout>
                <c:manualLayout>
                  <c:x val="-2.3060431745645048E-2"/>
                  <c:y val="-5.07506010980627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6-BA8E-446A-B141-EBC2DD35BC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35</c:f>
              <c:numCache>
                <c:formatCode>General</c:formatCode>
                <c:ptCount val="3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  <c:pt idx="14">
                  <c:v>2031</c:v>
                </c:pt>
                <c:pt idx="15">
                  <c:v>2032</c:v>
                </c:pt>
                <c:pt idx="16">
                  <c:v>2033</c:v>
                </c:pt>
                <c:pt idx="17">
                  <c:v>2034</c:v>
                </c:pt>
                <c:pt idx="18">
                  <c:v>2035</c:v>
                </c:pt>
                <c:pt idx="19">
                  <c:v>2036</c:v>
                </c:pt>
                <c:pt idx="20">
                  <c:v>2037</c:v>
                </c:pt>
                <c:pt idx="21">
                  <c:v>2038</c:v>
                </c:pt>
                <c:pt idx="22">
                  <c:v>2039</c:v>
                </c:pt>
                <c:pt idx="23">
                  <c:v>2040</c:v>
                </c:pt>
                <c:pt idx="24">
                  <c:v>2041</c:v>
                </c:pt>
                <c:pt idx="25">
                  <c:v>2042</c:v>
                </c:pt>
                <c:pt idx="26">
                  <c:v>2043</c:v>
                </c:pt>
                <c:pt idx="27">
                  <c:v>2044</c:v>
                </c:pt>
                <c:pt idx="28">
                  <c:v>2045</c:v>
                </c:pt>
                <c:pt idx="29">
                  <c:v>2046</c:v>
                </c:pt>
                <c:pt idx="30">
                  <c:v>2047</c:v>
                </c:pt>
                <c:pt idx="31">
                  <c:v>2048</c:v>
                </c:pt>
                <c:pt idx="32">
                  <c:v>2049</c:v>
                </c:pt>
                <c:pt idx="33">
                  <c:v>2050</c:v>
                </c:pt>
              </c:numCache>
            </c:numRef>
          </c:cat>
          <c:val>
            <c:numRef>
              <c:f>Hoja1!$E$2:$E$35</c:f>
              <c:numCache>
                <c:formatCode>General</c:formatCode>
                <c:ptCount val="34"/>
                <c:pt idx="6">
                  <c:v>2.1</c:v>
                </c:pt>
                <c:pt idx="7">
                  <c:v>2.1</c:v>
                </c:pt>
                <c:pt idx="8">
                  <c:v>2</c:v>
                </c:pt>
                <c:pt idx="9">
                  <c:v>1.9</c:v>
                </c:pt>
                <c:pt idx="10">
                  <c:v>1.8</c:v>
                </c:pt>
                <c:pt idx="11">
                  <c:v>1.7</c:v>
                </c:pt>
                <c:pt idx="12">
                  <c:v>1.6</c:v>
                </c:pt>
                <c:pt idx="13">
                  <c:v>1.6</c:v>
                </c:pt>
                <c:pt idx="14">
                  <c:v>1.5</c:v>
                </c:pt>
                <c:pt idx="15">
                  <c:v>1.4</c:v>
                </c:pt>
                <c:pt idx="16">
                  <c:v>1.3</c:v>
                </c:pt>
                <c:pt idx="17">
                  <c:v>1.2</c:v>
                </c:pt>
                <c:pt idx="18">
                  <c:v>1.1000000000000001</c:v>
                </c:pt>
                <c:pt idx="19">
                  <c:v>1.1000000000000001</c:v>
                </c:pt>
                <c:pt idx="20">
                  <c:v>1</c:v>
                </c:pt>
                <c:pt idx="21">
                  <c:v>1</c:v>
                </c:pt>
                <c:pt idx="22">
                  <c:v>0.9</c:v>
                </c:pt>
                <c:pt idx="23">
                  <c:v>0.9</c:v>
                </c:pt>
                <c:pt idx="24">
                  <c:v>0.8</c:v>
                </c:pt>
                <c:pt idx="25">
                  <c:v>0.8</c:v>
                </c:pt>
                <c:pt idx="26">
                  <c:v>0.7</c:v>
                </c:pt>
                <c:pt idx="27">
                  <c:v>0.7</c:v>
                </c:pt>
                <c:pt idx="28">
                  <c:v>0.7</c:v>
                </c:pt>
                <c:pt idx="29">
                  <c:v>0.6</c:v>
                </c:pt>
                <c:pt idx="30">
                  <c:v>0.6</c:v>
                </c:pt>
                <c:pt idx="31">
                  <c:v>0.6</c:v>
                </c:pt>
                <c:pt idx="32">
                  <c:v>0.6</c:v>
                </c:pt>
                <c:pt idx="33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D-BA8E-446A-B141-EBC2DD35BC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6967792"/>
        <c:axId val="326968272"/>
      </c:lineChart>
      <c:catAx>
        <c:axId val="326967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2">
                <a:lumMod val="40000"/>
                <a:lumOff val="6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326968272"/>
        <c:crosses val="autoZero"/>
        <c:auto val="1"/>
        <c:lblAlgn val="ctr"/>
        <c:lblOffset val="100"/>
        <c:noMultiLvlLbl val="0"/>
      </c:catAx>
      <c:valAx>
        <c:axId val="326968272"/>
        <c:scaling>
          <c:orientation val="minMax"/>
          <c:max val="20"/>
        </c:scaling>
        <c:delete val="0"/>
        <c:axPos val="l"/>
        <c:majorGridlines>
          <c:spPr>
            <a:ln w="3175" cap="flat" cmpd="sng" algn="ctr">
              <a:solidFill>
                <a:schemeClr val="tx2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326967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4748" cy="489259"/>
          </a:xfrm>
          <a:prstGeom prst="rect">
            <a:avLst/>
          </a:prstGeom>
        </p:spPr>
        <p:txBody>
          <a:bodyPr vert="horz" lIns="89904" tIns="44952" rIns="89904" bIns="44952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08333" y="1"/>
            <a:ext cx="2914748" cy="489259"/>
          </a:xfrm>
          <a:prstGeom prst="rect">
            <a:avLst/>
          </a:prstGeom>
        </p:spPr>
        <p:txBody>
          <a:bodyPr vert="horz" lIns="89904" tIns="44952" rIns="89904" bIns="44952" rtlCol="0"/>
          <a:lstStyle>
            <a:lvl1pPr algn="r">
              <a:defRPr sz="1200"/>
            </a:lvl1pPr>
          </a:lstStyle>
          <a:p>
            <a:fld id="{376FC72C-C693-448D-8FEA-C52860382C62}" type="datetimeFigureOut">
              <a:rPr lang="es-ES" smtClean="0"/>
              <a:t>20/11/2025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284979"/>
            <a:ext cx="2914748" cy="489259"/>
          </a:xfrm>
          <a:prstGeom prst="rect">
            <a:avLst/>
          </a:prstGeom>
        </p:spPr>
        <p:txBody>
          <a:bodyPr vert="horz" lIns="89904" tIns="44952" rIns="89904" bIns="44952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08333" y="9284979"/>
            <a:ext cx="2914748" cy="489259"/>
          </a:xfrm>
          <a:prstGeom prst="rect">
            <a:avLst/>
          </a:prstGeom>
        </p:spPr>
        <p:txBody>
          <a:bodyPr vert="horz" lIns="89904" tIns="44952" rIns="89904" bIns="44952" rtlCol="0" anchor="b"/>
          <a:lstStyle>
            <a:lvl1pPr algn="r">
              <a:defRPr sz="1200"/>
            </a:lvl1pPr>
          </a:lstStyle>
          <a:p>
            <a:fld id="{5469ECBC-A2B0-4C1B-9AD3-14FEF64ADCF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5917535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4748" cy="489259"/>
          </a:xfrm>
          <a:prstGeom prst="rect">
            <a:avLst/>
          </a:prstGeom>
        </p:spPr>
        <p:txBody>
          <a:bodyPr vert="horz" lIns="89904" tIns="44952" rIns="89904" bIns="44952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08334" y="1"/>
            <a:ext cx="2914748" cy="489259"/>
          </a:xfrm>
          <a:prstGeom prst="rect">
            <a:avLst/>
          </a:prstGeom>
        </p:spPr>
        <p:txBody>
          <a:bodyPr vert="horz" lIns="89904" tIns="44952" rIns="89904" bIns="44952" rtlCol="0"/>
          <a:lstStyle>
            <a:lvl1pPr algn="r">
              <a:defRPr sz="1200"/>
            </a:lvl1pPr>
          </a:lstStyle>
          <a:p>
            <a:fld id="{4106D11E-1996-436F-A3F7-16355209C4D3}" type="datetimeFigureOut">
              <a:rPr lang="fr-FR" smtClean="0"/>
              <a:t>20/11/2025</a:t>
            </a:fld>
            <a:endParaRPr lang="fr-FR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3425"/>
            <a:ext cx="65151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2155" y="4642492"/>
            <a:ext cx="5380348" cy="4398642"/>
          </a:xfrm>
          <a:prstGeom prst="rect">
            <a:avLst/>
          </a:prstGeom>
        </p:spPr>
        <p:txBody>
          <a:bodyPr vert="horz" lIns="89904" tIns="44952" rIns="89904" bIns="44952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fr-F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9283419"/>
            <a:ext cx="2914748" cy="489258"/>
          </a:xfrm>
          <a:prstGeom prst="rect">
            <a:avLst/>
          </a:prstGeom>
        </p:spPr>
        <p:txBody>
          <a:bodyPr vert="horz" lIns="89904" tIns="44952" rIns="89904" bIns="44952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08334" y="9283419"/>
            <a:ext cx="2914748" cy="489258"/>
          </a:xfrm>
          <a:prstGeom prst="rect">
            <a:avLst/>
          </a:prstGeom>
        </p:spPr>
        <p:txBody>
          <a:bodyPr vert="horz" lIns="89904" tIns="44952" rIns="89904" bIns="44952" rtlCol="0" anchor="b"/>
          <a:lstStyle>
            <a:lvl1pPr algn="r">
              <a:defRPr sz="1200"/>
            </a:lvl1pPr>
          </a:lstStyle>
          <a:p>
            <a:fld id="{B248A1A4-A39C-4ABB-800D-4BA391F412F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6750856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8809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48A1A4-A39C-4ABB-800D-4BA391F412F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286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650E0E-622F-7431-EEA3-2CF1D9DD42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242" y="6404830"/>
            <a:ext cx="10486560" cy="3895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13738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2pPr>
            <a:lvl3pPr marL="827475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3pPr>
            <a:lvl4pPr marL="1241213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4pPr>
            <a:lvl5pPr marL="165495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Footer / Arial Regular / Size: 8pt / Colour: #8996A0 / Left Align</a:t>
            </a:r>
          </a:p>
        </p:txBody>
      </p:sp>
      <p:sp>
        <p:nvSpPr>
          <p:cNvPr id="12" name="Marcador de texto 21">
            <a:extLst>
              <a:ext uri="{FF2B5EF4-FFF2-40B4-BE49-F238E27FC236}">
                <a16:creationId xmlns:a16="http://schemas.microsoft.com/office/drawing/2014/main" id="{0A240217-A519-FB25-934C-C26BE9536C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8862" y="364973"/>
            <a:ext cx="7902496" cy="176074"/>
          </a:xfrm>
        </p:spPr>
        <p:txBody>
          <a:bodyPr wrap="square" lIns="0" tIns="0" rIns="0" bIns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Arial Regular / Size: 11pt / Colour: #818E98. Right align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5C9084-937C-BF7B-F219-0C9E18B70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243" y="795601"/>
            <a:ext cx="1098311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000"/>
            </a:lvl1pPr>
          </a:lstStyle>
          <a:p>
            <a:r>
              <a:rPr lang="en-GB" noProof="0" dirty="0"/>
              <a:t>TITLE 1 - Arial Bold / Size: 20pt / Colour: #003478 </a:t>
            </a:r>
          </a:p>
        </p:txBody>
      </p:sp>
    </p:spTree>
    <p:extLst>
      <p:ext uri="{BB962C8B-B14F-4D97-AF65-F5344CB8AC3E}">
        <p14:creationId xmlns:p14="http://schemas.microsoft.com/office/powerpoint/2010/main" val="882247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6B66CB8A-90BF-23CA-B48D-4B5B361D76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242" y="6404830"/>
            <a:ext cx="10297150" cy="3895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13738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2pPr>
            <a:lvl3pPr marL="827475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3pPr>
            <a:lvl4pPr marL="1241213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4pPr>
            <a:lvl5pPr marL="165495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/>
              <a:t>Footer / Arial Regular / Size: 8pt / Colour: #8996A0 / Left Align</a:t>
            </a:r>
          </a:p>
        </p:txBody>
      </p:sp>
      <p:sp>
        <p:nvSpPr>
          <p:cNvPr id="2" name="Marcador de texto 21">
            <a:extLst>
              <a:ext uri="{FF2B5EF4-FFF2-40B4-BE49-F238E27FC236}">
                <a16:creationId xmlns:a16="http://schemas.microsoft.com/office/drawing/2014/main" id="{F102A508-0208-E16B-747F-82EBB65DF1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8862" y="364973"/>
            <a:ext cx="7902496" cy="176074"/>
          </a:xfrm>
        </p:spPr>
        <p:txBody>
          <a:bodyPr wrap="square" lIns="0" tIns="0" rIns="0" bIns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/>
              <a:t>Arial Regular / Size: 11pt / Colour: #818E98. Right align</a:t>
            </a:r>
          </a:p>
        </p:txBody>
      </p:sp>
    </p:spTree>
    <p:extLst>
      <p:ext uri="{BB962C8B-B14F-4D97-AF65-F5344CB8AC3E}">
        <p14:creationId xmlns:p14="http://schemas.microsoft.com/office/powerpoint/2010/main" val="4132400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sig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21">
            <a:extLst>
              <a:ext uri="{FF2B5EF4-FFF2-40B4-BE49-F238E27FC236}">
                <a16:creationId xmlns:a16="http://schemas.microsoft.com/office/drawing/2014/main" id="{8355C170-4CE5-2DF9-F3DA-FDEEACC72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943" y="1292994"/>
            <a:ext cx="1096741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814"/>
              </a:lnSpc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Arial Regular / Size: 15pt / Colour: #818E98</a:t>
            </a: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4F3B116B-0FEA-035D-FFD2-FCF9019BB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943" y="1687005"/>
            <a:ext cx="10967415" cy="1151738"/>
          </a:xfrm>
        </p:spPr>
        <p:txBody>
          <a:bodyPr wrap="square">
            <a:noAutofit/>
          </a:bodyPr>
          <a:lstStyle>
            <a:lvl1pPr>
              <a:defRPr sz="3000"/>
            </a:lvl1pPr>
          </a:lstStyle>
          <a:p>
            <a:r>
              <a:rPr lang="en-GB" noProof="0" dirty="0"/>
              <a:t>Arial Bold / 30pt / Colour: #003478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B9653C9B-2A03-27C7-0CB4-F9E4665F056A}"/>
              </a:ext>
            </a:extLst>
          </p:cNvPr>
          <p:cNvCxnSpPr>
            <a:cxnSpLocks/>
          </p:cNvCxnSpPr>
          <p:nvPr userDrawn="1"/>
        </p:nvCxnSpPr>
        <p:spPr>
          <a:xfrm>
            <a:off x="616727" y="6356352"/>
            <a:ext cx="10848789" cy="0"/>
          </a:xfrm>
          <a:prstGeom prst="line">
            <a:avLst/>
          </a:prstGeom>
          <a:ln w="19050">
            <a:solidFill>
              <a:srgbClr val="D9DDE0">
                <a:alpha val="70000"/>
              </a:srgb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730E16C-5A9A-9DF4-9C8F-FA67002A956D}"/>
              </a:ext>
            </a:extLst>
          </p:cNvPr>
          <p:cNvSpPr txBox="1"/>
          <p:nvPr userDrawn="1"/>
        </p:nvSpPr>
        <p:spPr>
          <a:xfrm>
            <a:off x="502335" y="6424486"/>
            <a:ext cx="18581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100" noProof="0">
                <a:solidFill>
                  <a:schemeClr val="tx2"/>
                </a:solidFill>
              </a:rPr>
              <a:t>alg-global.com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30CD82D8-E1DD-2539-ACDA-9A7395DE38AE}"/>
              </a:ext>
            </a:extLst>
          </p:cNvPr>
          <p:cNvGrpSpPr/>
          <p:nvPr userDrawn="1"/>
        </p:nvGrpSpPr>
        <p:grpSpPr>
          <a:xfrm>
            <a:off x="0" y="416740"/>
            <a:ext cx="1741698" cy="394727"/>
            <a:chOff x="0" y="458369"/>
            <a:chExt cx="1549899" cy="351259"/>
          </a:xfrm>
        </p:grpSpPr>
        <p:pic>
          <p:nvPicPr>
            <p:cNvPr id="5" name="Gráfico 4">
              <a:extLst>
                <a:ext uri="{FF2B5EF4-FFF2-40B4-BE49-F238E27FC236}">
                  <a16:creationId xmlns:a16="http://schemas.microsoft.com/office/drawing/2014/main" id="{BEFBC063-C458-7F3C-DD87-14222F52BD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5407" y="458369"/>
              <a:ext cx="1014492" cy="351259"/>
            </a:xfrm>
            <a:prstGeom prst="rect">
              <a:avLst/>
            </a:prstGeom>
          </p:spPr>
        </p:pic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5EC77A1D-4575-53C9-C9BC-85A0DE9DA9BB}"/>
                </a:ext>
              </a:extLst>
            </p:cNvPr>
            <p:cNvSpPr/>
            <p:nvPr userDrawn="1"/>
          </p:nvSpPr>
          <p:spPr>
            <a:xfrm>
              <a:off x="0" y="460552"/>
              <a:ext cx="95250" cy="33896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</p:spTree>
    <p:extLst>
      <p:ext uri="{BB962C8B-B14F-4D97-AF65-F5344CB8AC3E}">
        <p14:creationId xmlns:p14="http://schemas.microsoft.com/office/powerpoint/2010/main" val="4278097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sig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E932DB-8D17-7183-9E60-06636DD6F2DB}"/>
              </a:ext>
            </a:extLst>
          </p:cNvPr>
          <p:cNvSpPr/>
          <p:nvPr userDrawn="1"/>
        </p:nvSpPr>
        <p:spPr>
          <a:xfrm>
            <a:off x="7258538" y="0"/>
            <a:ext cx="49334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noProof="0">
                <a:solidFill>
                  <a:schemeClr val="tx2">
                    <a:lumMod val="60000"/>
                    <a:lumOff val="40000"/>
                  </a:schemeClr>
                </a:solidFill>
              </a:rPr>
              <a:t>Photo area</a:t>
            </a:r>
          </a:p>
        </p:txBody>
      </p:sp>
      <p:sp>
        <p:nvSpPr>
          <p:cNvPr id="17" name="Título 8">
            <a:extLst>
              <a:ext uri="{FF2B5EF4-FFF2-40B4-BE49-F238E27FC236}">
                <a16:creationId xmlns:a16="http://schemas.microsoft.com/office/drawing/2014/main" id="{F224D77D-A000-0086-DDEE-F19EA7413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693" y="1687005"/>
            <a:ext cx="6634596" cy="527875"/>
          </a:xfrm>
        </p:spPr>
        <p:txBody>
          <a:bodyPr wrap="square">
            <a:noAutofit/>
          </a:bodyPr>
          <a:lstStyle>
            <a:lvl1pPr>
              <a:defRPr sz="3000"/>
            </a:lvl1pPr>
          </a:lstStyle>
          <a:p>
            <a:r>
              <a:rPr lang="en-GB" noProof="0" dirty="0"/>
              <a:t>Arial Bold 30pt</a:t>
            </a:r>
          </a:p>
        </p:txBody>
      </p:sp>
      <p:sp>
        <p:nvSpPr>
          <p:cNvPr id="20" name="Marcador de texto 21">
            <a:extLst>
              <a:ext uri="{FF2B5EF4-FFF2-40B4-BE49-F238E27FC236}">
                <a16:creationId xmlns:a16="http://schemas.microsoft.com/office/drawing/2014/main" id="{F5AE530E-F892-72C3-89AD-475D294A9B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5693" y="3429000"/>
            <a:ext cx="5981538" cy="292100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814"/>
              </a:lnSpc>
              <a:spcBef>
                <a:spcPts val="600"/>
              </a:spcBef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Arial Regular / Size: 15pt / Colour: #818E98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9DBB75F1-E80C-0507-3269-6261B0C5F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5693" y="2339956"/>
            <a:ext cx="6652604" cy="562649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accent2"/>
                </a:solidFill>
              </a:defRPr>
            </a:lvl1pPr>
            <a:lvl2pPr marL="449263" indent="0">
              <a:buNone/>
              <a:defRPr sz="3600" b="1">
                <a:solidFill>
                  <a:schemeClr val="accent2"/>
                </a:solidFill>
              </a:defRPr>
            </a:lvl2pPr>
            <a:lvl3pPr marL="898525" indent="0">
              <a:buNone/>
              <a:defRPr sz="3600" b="1">
                <a:solidFill>
                  <a:schemeClr val="accent2"/>
                </a:solidFill>
              </a:defRPr>
            </a:lvl3pPr>
            <a:lvl4pPr marL="1249362" indent="0">
              <a:buNone/>
              <a:defRPr sz="3600" b="1">
                <a:solidFill>
                  <a:schemeClr val="accent2"/>
                </a:solidFill>
              </a:defRPr>
            </a:lvl4pPr>
            <a:lvl5pPr marL="1654950" indent="0">
              <a:buNone/>
              <a:defRPr sz="36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Arial Bold 30pt</a:t>
            </a:r>
          </a:p>
        </p:txBody>
      </p:sp>
    </p:spTree>
    <p:extLst>
      <p:ext uri="{BB962C8B-B14F-4D97-AF65-F5344CB8AC3E}">
        <p14:creationId xmlns:p14="http://schemas.microsoft.com/office/powerpoint/2010/main" val="19150604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8">
            <a:extLst>
              <a:ext uri="{FF2B5EF4-FFF2-40B4-BE49-F238E27FC236}">
                <a16:creationId xmlns:a16="http://schemas.microsoft.com/office/drawing/2014/main" id="{93B31095-C97D-7056-8084-D3F9690BE70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798790" y="4591078"/>
            <a:ext cx="2540171" cy="355573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  <a:lvl2pPr marL="413738" indent="0">
              <a:buNone/>
              <a:defRPr sz="907"/>
            </a:lvl2pPr>
            <a:lvl3pPr>
              <a:defRPr sz="907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GB" noProof="0"/>
              <a:t>Arial Regular / 10pt / Colour: #818E98</a:t>
            </a:r>
          </a:p>
        </p:txBody>
      </p:sp>
      <p:sp>
        <p:nvSpPr>
          <p:cNvPr id="20" name="Marcador de texto 8">
            <a:extLst>
              <a:ext uri="{FF2B5EF4-FFF2-40B4-BE49-F238E27FC236}">
                <a16:creationId xmlns:a16="http://schemas.microsoft.com/office/drawing/2014/main" id="{6098ED97-F90B-A816-1481-B9C3E7451F5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798790" y="5321327"/>
            <a:ext cx="2540171" cy="880690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  <a:lvl2pPr marL="413738" indent="0">
              <a:buNone/>
              <a:defRPr sz="907"/>
            </a:lvl2pPr>
            <a:lvl3pPr>
              <a:defRPr sz="907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GB" noProof="0"/>
              <a:t>Arial Regular / 10pt / Colour: #818E98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98A0005-7308-23F7-4F6F-B8ACFD0596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98788" y="3075074"/>
            <a:ext cx="2144812" cy="74299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7BA26FA6-C4EC-9A81-3109-1578FA36E6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289" y="5018942"/>
            <a:ext cx="1086905" cy="1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754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650E0E-622F-7431-EEA3-2CF1D9DD42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242" y="6437960"/>
            <a:ext cx="10486560" cy="3895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13738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2pPr>
            <a:lvl3pPr marL="827475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3pPr>
            <a:lvl4pPr marL="1241213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4pPr>
            <a:lvl5pPr marL="165495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Footer / Arial Regular / Size: 8pt / Colour: #8996A0 / Left Align.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E82DC3E2-20DD-DD74-ED62-7FE17C2C2DC0}"/>
              </a:ext>
            </a:extLst>
          </p:cNvPr>
          <p:cNvCxnSpPr/>
          <p:nvPr userDrawn="1"/>
        </p:nvCxnSpPr>
        <p:spPr>
          <a:xfrm>
            <a:off x="616726" y="649796"/>
            <a:ext cx="10974631" cy="0"/>
          </a:xfrm>
          <a:prstGeom prst="line">
            <a:avLst/>
          </a:prstGeom>
          <a:ln w="19050">
            <a:solidFill>
              <a:srgbClr val="D9DDE0">
                <a:alpha val="70000"/>
              </a:srgb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99106D3C-D47C-E5EA-87CB-52EFBEE77E17}"/>
              </a:ext>
            </a:extLst>
          </p:cNvPr>
          <p:cNvCxnSpPr>
            <a:cxnSpLocks/>
          </p:cNvCxnSpPr>
          <p:nvPr userDrawn="1"/>
        </p:nvCxnSpPr>
        <p:spPr>
          <a:xfrm>
            <a:off x="616727" y="6356352"/>
            <a:ext cx="10848789" cy="0"/>
          </a:xfrm>
          <a:prstGeom prst="line">
            <a:avLst/>
          </a:prstGeom>
          <a:ln w="19050">
            <a:solidFill>
              <a:srgbClr val="D9DDE0">
                <a:alpha val="70000"/>
              </a:srgb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Marcador de texto 21">
            <a:extLst>
              <a:ext uri="{FF2B5EF4-FFF2-40B4-BE49-F238E27FC236}">
                <a16:creationId xmlns:a16="http://schemas.microsoft.com/office/drawing/2014/main" id="{0A240217-A519-FB25-934C-C26BE9536C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8862" y="364973"/>
            <a:ext cx="7902496" cy="176074"/>
          </a:xfrm>
        </p:spPr>
        <p:txBody>
          <a:bodyPr wrap="square" lIns="0" tIns="0" rIns="0" bIns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Arial Regular / Size: 11pt / Colour: #818E98. Right align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5C9084-937C-BF7B-F219-0C9E18B70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243" y="795601"/>
            <a:ext cx="1098311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000"/>
            </a:lvl1pPr>
          </a:lstStyle>
          <a:p>
            <a:r>
              <a:rPr lang="en-GB" noProof="0" dirty="0"/>
              <a:t>TITLE 1 - Arial Bold / Size: 20pt / Colour: #003478 </a:t>
            </a:r>
          </a:p>
        </p:txBody>
      </p:sp>
    </p:spTree>
    <p:extLst>
      <p:ext uri="{BB962C8B-B14F-4D97-AF65-F5344CB8AC3E}">
        <p14:creationId xmlns:p14="http://schemas.microsoft.com/office/powerpoint/2010/main" val="2665843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5FAA57-F4FB-F5AE-9BDA-8A37C21AED4E}"/>
              </a:ext>
            </a:extLst>
          </p:cNvPr>
          <p:cNvSpPr/>
          <p:nvPr userDrawn="1"/>
        </p:nvSpPr>
        <p:spPr>
          <a:xfrm>
            <a:off x="0" y="2752342"/>
            <a:ext cx="12192000" cy="41056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hoto area</a:t>
            </a:r>
          </a:p>
        </p:txBody>
      </p:sp>
      <p:sp>
        <p:nvSpPr>
          <p:cNvPr id="22" name="Marcador de texto 21">
            <a:extLst>
              <a:ext uri="{FF2B5EF4-FFF2-40B4-BE49-F238E27FC236}">
                <a16:creationId xmlns:a16="http://schemas.microsoft.com/office/drawing/2014/main" id="{6451A6E3-ECF4-D8D4-9402-54695E4E29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57608" y="2221426"/>
            <a:ext cx="8632609" cy="230832"/>
          </a:xfrm>
          <a:noFill/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Arial / Size: 15pt / Colour: #818E98</a:t>
            </a: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EAC5A981-7E45-8978-66F7-22A3D395D4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609" y="428321"/>
            <a:ext cx="8632608" cy="1535741"/>
          </a:xfrm>
        </p:spPr>
        <p:txBody>
          <a:bodyPr wrap="square">
            <a:noAutofit/>
          </a:bodyPr>
          <a:lstStyle>
            <a:lvl1pPr>
              <a:defRPr sz="3000"/>
            </a:lvl1pPr>
          </a:lstStyle>
          <a:p>
            <a:r>
              <a:rPr lang="en-GB" noProof="0" dirty="0"/>
              <a:t>Arial Bold / Size: 30pt / Colour: #003478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7521C186-EF49-212B-7A10-A50E175633C9}"/>
              </a:ext>
            </a:extLst>
          </p:cNvPr>
          <p:cNvGrpSpPr/>
          <p:nvPr userDrawn="1"/>
        </p:nvGrpSpPr>
        <p:grpSpPr>
          <a:xfrm>
            <a:off x="0" y="416740"/>
            <a:ext cx="1741698" cy="394727"/>
            <a:chOff x="0" y="458369"/>
            <a:chExt cx="1549899" cy="351259"/>
          </a:xfrm>
        </p:grpSpPr>
        <p:pic>
          <p:nvPicPr>
            <p:cNvPr id="2" name="Gráfico 1">
              <a:extLst>
                <a:ext uri="{FF2B5EF4-FFF2-40B4-BE49-F238E27FC236}">
                  <a16:creationId xmlns:a16="http://schemas.microsoft.com/office/drawing/2014/main" id="{E58A4C60-9414-0011-1FF4-F1F0BD08D9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5407" y="458369"/>
              <a:ext cx="1014492" cy="351259"/>
            </a:xfrm>
            <a:prstGeom prst="rect">
              <a:avLst/>
            </a:prstGeom>
          </p:spPr>
        </p:pic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CFCF210F-3688-AF31-BB4C-E1731FC0112E}"/>
                </a:ext>
              </a:extLst>
            </p:cNvPr>
            <p:cNvSpPr/>
            <p:nvPr userDrawn="1"/>
          </p:nvSpPr>
          <p:spPr>
            <a:xfrm>
              <a:off x="0" y="460552"/>
              <a:ext cx="95250" cy="33896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592487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0" userDrawn="1">
          <p15:clr>
            <a:srgbClr val="FBAE40"/>
          </p15:clr>
        </p15:guide>
        <p15:guide id="3" orient="horz" pos="260" userDrawn="1">
          <p15:clr>
            <a:srgbClr val="FBAE40"/>
          </p15:clr>
        </p15:guide>
        <p15:guide id="4" orient="horz" pos="1725" userDrawn="1">
          <p15:clr>
            <a:srgbClr val="FBAE40"/>
          </p15:clr>
        </p15:guide>
        <p15:guide id="5" pos="3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E354001-04D2-D41A-ABE6-977A7DAB571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hoto area</a:t>
            </a:r>
          </a:p>
        </p:txBody>
      </p:sp>
      <p:sp>
        <p:nvSpPr>
          <p:cNvPr id="4" name="Título 8">
            <a:extLst>
              <a:ext uri="{FF2B5EF4-FFF2-40B4-BE49-F238E27FC236}">
                <a16:creationId xmlns:a16="http://schemas.microsoft.com/office/drawing/2014/main" id="{7056FD9D-1F05-2D66-D770-B7A032933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527" y="1681239"/>
            <a:ext cx="5316923" cy="923330"/>
          </a:xfrm>
        </p:spPr>
        <p:txBody>
          <a:bodyPr wrap="square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Arial / Bold / Size: 30pt / Colour: #003478</a:t>
            </a:r>
          </a:p>
        </p:txBody>
      </p:sp>
      <p:sp>
        <p:nvSpPr>
          <p:cNvPr id="6" name="Marcador de texto 21">
            <a:extLst>
              <a:ext uri="{FF2B5EF4-FFF2-40B4-BE49-F238E27FC236}">
                <a16:creationId xmlns:a16="http://schemas.microsoft.com/office/drawing/2014/main" id="{D39E0376-FF20-9398-754E-83A782DF31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1527" y="4610694"/>
            <a:ext cx="5316923" cy="230832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Arial / Size: 15pt / Colour: #818E98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8A8D861A-C7B6-B67C-4D47-03FAC3497043}"/>
              </a:ext>
            </a:extLst>
          </p:cNvPr>
          <p:cNvGrpSpPr/>
          <p:nvPr userDrawn="1"/>
        </p:nvGrpSpPr>
        <p:grpSpPr>
          <a:xfrm>
            <a:off x="0" y="5668514"/>
            <a:ext cx="1819386" cy="421135"/>
            <a:chOff x="0" y="5683814"/>
            <a:chExt cx="1502355" cy="347752"/>
          </a:xfrm>
        </p:grpSpPr>
        <p:pic>
          <p:nvPicPr>
            <p:cNvPr id="3" name="Gráfico 2">
              <a:extLst>
                <a:ext uri="{FF2B5EF4-FFF2-40B4-BE49-F238E27FC236}">
                  <a16:creationId xmlns:a16="http://schemas.microsoft.com/office/drawing/2014/main" id="{89D69A82-067F-CC64-2A98-E47F627D14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97991" y="5683814"/>
              <a:ext cx="1004364" cy="347752"/>
            </a:xfrm>
            <a:prstGeom prst="rect">
              <a:avLst/>
            </a:prstGeom>
          </p:spPr>
        </p:pic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6D412ACE-4FA3-3F1F-93F3-62E141589227}"/>
                </a:ext>
              </a:extLst>
            </p:cNvPr>
            <p:cNvSpPr/>
            <p:nvPr userDrawn="1"/>
          </p:nvSpPr>
          <p:spPr>
            <a:xfrm>
              <a:off x="0" y="5691534"/>
              <a:ext cx="95250" cy="33796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247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8">
            <a:extLst>
              <a:ext uri="{FF2B5EF4-FFF2-40B4-BE49-F238E27FC236}">
                <a16:creationId xmlns:a16="http://schemas.microsoft.com/office/drawing/2014/main" id="{7056FD9D-1F05-2D66-D770-B7A032933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530" y="2496939"/>
            <a:ext cx="10979830" cy="1151738"/>
          </a:xfrm>
        </p:spPr>
        <p:txBody>
          <a:bodyPr wrap="square">
            <a:noAutofit/>
          </a:bodyPr>
          <a:lstStyle>
            <a:lvl1pPr>
              <a:defRPr sz="3000"/>
            </a:lvl1pPr>
          </a:lstStyle>
          <a:p>
            <a:r>
              <a:rPr lang="en-GB" noProof="0" dirty="0"/>
              <a:t>Arial / Weight: Bold / Size: 30pt / Colour: #003478</a:t>
            </a:r>
          </a:p>
        </p:txBody>
      </p:sp>
      <p:sp>
        <p:nvSpPr>
          <p:cNvPr id="6" name="Marcador de texto 21">
            <a:extLst>
              <a:ext uri="{FF2B5EF4-FFF2-40B4-BE49-F238E27FC236}">
                <a16:creationId xmlns:a16="http://schemas.microsoft.com/office/drawing/2014/main" id="{D39E0376-FF20-9398-754E-83A782DF31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1530" y="4087983"/>
            <a:ext cx="10979830" cy="625341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633"/>
              </a:lnSpc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Arial / Size: 15pt / Colour: #818E98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FD924167-A047-94D2-1B72-D10E003327C6}"/>
              </a:ext>
            </a:extLst>
          </p:cNvPr>
          <p:cNvGrpSpPr/>
          <p:nvPr userDrawn="1"/>
        </p:nvGrpSpPr>
        <p:grpSpPr>
          <a:xfrm>
            <a:off x="0" y="1645584"/>
            <a:ext cx="1819386" cy="421135"/>
            <a:chOff x="0" y="5683814"/>
            <a:chExt cx="1502355" cy="347752"/>
          </a:xfrm>
        </p:grpSpPr>
        <p:pic>
          <p:nvPicPr>
            <p:cNvPr id="5" name="Gráfico 4">
              <a:extLst>
                <a:ext uri="{FF2B5EF4-FFF2-40B4-BE49-F238E27FC236}">
                  <a16:creationId xmlns:a16="http://schemas.microsoft.com/office/drawing/2014/main" id="{37470688-CA48-DA46-B2D8-BE78B0FCA5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97991" y="5683814"/>
              <a:ext cx="1004364" cy="347752"/>
            </a:xfrm>
            <a:prstGeom prst="rect">
              <a:avLst/>
            </a:prstGeom>
          </p:spPr>
        </p:pic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B31D392C-9D18-F782-5248-850613F05D2B}"/>
                </a:ext>
              </a:extLst>
            </p:cNvPr>
            <p:cNvSpPr/>
            <p:nvPr userDrawn="1"/>
          </p:nvSpPr>
          <p:spPr>
            <a:xfrm>
              <a:off x="0" y="5691534"/>
              <a:ext cx="95250" cy="33796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515274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photo - dark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8">
            <a:extLst>
              <a:ext uri="{FF2B5EF4-FFF2-40B4-BE49-F238E27FC236}">
                <a16:creationId xmlns:a16="http://schemas.microsoft.com/office/drawing/2014/main" id="{7056FD9D-1F05-2D66-D770-B7A032933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530" y="2496939"/>
            <a:ext cx="10979830" cy="1151738"/>
          </a:xfrm>
        </p:spPr>
        <p:txBody>
          <a:bodyPr wrap="square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Arial / Weight: Bold / Size: 30pt / Colour: #ffffff</a:t>
            </a:r>
          </a:p>
        </p:txBody>
      </p:sp>
      <p:sp>
        <p:nvSpPr>
          <p:cNvPr id="6" name="Marcador de texto 21">
            <a:extLst>
              <a:ext uri="{FF2B5EF4-FFF2-40B4-BE49-F238E27FC236}">
                <a16:creationId xmlns:a16="http://schemas.microsoft.com/office/drawing/2014/main" id="{D39E0376-FF20-9398-754E-83A782DF31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1530" y="4087983"/>
            <a:ext cx="10979830" cy="62640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633"/>
              </a:lnSpc>
              <a:buNone/>
              <a:defRPr sz="15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Arial / Size: 15pt / Colour: #818E98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0483FEA1-EC2C-DB44-F466-D78F6E40396B}"/>
              </a:ext>
            </a:extLst>
          </p:cNvPr>
          <p:cNvGrpSpPr/>
          <p:nvPr userDrawn="1"/>
        </p:nvGrpSpPr>
        <p:grpSpPr>
          <a:xfrm>
            <a:off x="1" y="1636146"/>
            <a:ext cx="1731316" cy="389504"/>
            <a:chOff x="1" y="1572646"/>
            <a:chExt cx="1621810" cy="364869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15E33114-8455-B44E-BC98-C80C730DB158}"/>
                </a:ext>
              </a:extLst>
            </p:cNvPr>
            <p:cNvSpPr/>
            <p:nvPr userDrawn="1"/>
          </p:nvSpPr>
          <p:spPr>
            <a:xfrm>
              <a:off x="1" y="1572646"/>
              <a:ext cx="114876" cy="36486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35" noProof="0" dirty="0"/>
            </a:p>
          </p:txBody>
        </p:sp>
        <p:pic>
          <p:nvPicPr>
            <p:cNvPr id="9" name="Imagen 2">
              <a:extLst>
                <a:ext uri="{FF2B5EF4-FFF2-40B4-BE49-F238E27FC236}">
                  <a16:creationId xmlns:a16="http://schemas.microsoft.com/office/drawing/2014/main" id="{3873E57F-F854-64B5-2AAB-54A0E3BA93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72208" y="1573280"/>
              <a:ext cx="1049603" cy="363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9742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51EC9FF-27D3-981E-C729-2B68174786E4}"/>
              </a:ext>
            </a:extLst>
          </p:cNvPr>
          <p:cNvSpPr/>
          <p:nvPr userDrawn="1"/>
        </p:nvSpPr>
        <p:spPr>
          <a:xfrm>
            <a:off x="0" y="0"/>
            <a:ext cx="402184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noProof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hoto area</a:t>
            </a:r>
          </a:p>
        </p:txBody>
      </p:sp>
      <p:sp>
        <p:nvSpPr>
          <p:cNvPr id="5" name="Título 8">
            <a:extLst>
              <a:ext uri="{FF2B5EF4-FFF2-40B4-BE49-F238E27FC236}">
                <a16:creationId xmlns:a16="http://schemas.microsoft.com/office/drawing/2014/main" id="{969B4E13-A6E7-EC38-3B4D-F37167C71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0624" y="676276"/>
            <a:ext cx="7040737" cy="756001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GB" noProof="0" dirty="0"/>
              <a:t>Arial Bold / Size: 28pt / Colour: #003478</a:t>
            </a:r>
          </a:p>
        </p:txBody>
      </p:sp>
      <p:sp>
        <p:nvSpPr>
          <p:cNvPr id="7" name="Marcador de texto 21">
            <a:extLst>
              <a:ext uri="{FF2B5EF4-FFF2-40B4-BE49-F238E27FC236}">
                <a16:creationId xmlns:a16="http://schemas.microsoft.com/office/drawing/2014/main" id="{A04CD28C-E9A0-DB27-8773-8D509E57A1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50624" y="1656000"/>
            <a:ext cx="7040737" cy="4608000"/>
          </a:xfrm>
        </p:spPr>
        <p:txBody>
          <a:bodyPr wrap="square" lIns="0" tIns="0" rIns="0" bIns="0">
            <a:noAutofit/>
          </a:bodyPr>
          <a:lstStyle>
            <a:lvl1pPr marL="266700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s-ES" sz="15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500">
                <a:solidFill>
                  <a:schemeClr val="tx2"/>
                </a:solidFill>
              </a:defRPr>
            </a:lvl2pPr>
          </a:lstStyle>
          <a:p>
            <a:pPr lvl="0"/>
            <a:r>
              <a:rPr lang="en-GB" noProof="0" dirty="0"/>
              <a:t>Arial Regular / Size: 15pt  </a:t>
            </a:r>
          </a:p>
          <a:p>
            <a:pPr lvl="1"/>
            <a:r>
              <a:rPr lang="en-GB" noProof="0" dirty="0"/>
              <a:t>Arial / Weight: Regular / Size: 15pt </a:t>
            </a:r>
          </a:p>
          <a:p>
            <a:pPr lvl="1"/>
            <a:r>
              <a:rPr lang="en-GB" noProof="0" dirty="0"/>
              <a:t>Arial / Weight: Regular / Size: 15pt</a:t>
            </a:r>
          </a:p>
          <a:p>
            <a:pPr lvl="1"/>
            <a:r>
              <a:rPr lang="en-GB" noProof="0" dirty="0"/>
              <a:t>Arial / Weight: Regular / Size: 15pt</a:t>
            </a:r>
          </a:p>
          <a:p>
            <a:pPr lvl="0"/>
            <a:r>
              <a:rPr lang="en-GB" noProof="0" dirty="0"/>
              <a:t>Arial Regular / Size: 15pt</a:t>
            </a:r>
          </a:p>
          <a:p>
            <a:pPr marL="266700" marR="0" lvl="0" indent="-266700" algn="l" defTabSz="8274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Arial Regular / Size: 15pt</a:t>
            </a:r>
          </a:p>
          <a:p>
            <a:pPr marL="266700" marR="0" lvl="0" indent="-266700" algn="l" defTabSz="8274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Arial Regular / Size: 15pt</a:t>
            </a:r>
          </a:p>
          <a:p>
            <a:pPr lvl="1"/>
            <a:r>
              <a:rPr lang="en-GB" noProof="0" dirty="0"/>
              <a:t>Arial / Weight: Regular / Size: 15pt</a:t>
            </a:r>
          </a:p>
          <a:p>
            <a:pPr lvl="1"/>
            <a:r>
              <a:rPr lang="en-GB" noProof="0" dirty="0"/>
              <a:t>Arial / Weight: Regular / Size: 15pt</a:t>
            </a:r>
          </a:p>
          <a:p>
            <a:pPr lvl="1"/>
            <a:r>
              <a:rPr lang="en-GB" noProof="0" dirty="0"/>
              <a:t>Arial / Weight: Regular / Size: 15pt</a:t>
            </a:r>
          </a:p>
          <a:p>
            <a:pPr marL="266700" lvl="0" indent="-266700" algn="l" defTabSz="827475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noProof="0" dirty="0"/>
              <a:t>Arial Regular / Size: 15pt</a:t>
            </a:r>
          </a:p>
          <a:p>
            <a:pPr marL="266700" lvl="0" indent="-266700" algn="l" defTabSz="827475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noProof="0" dirty="0"/>
              <a:t>Arial Regular / Size: 15pt</a:t>
            </a: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3A720864-A152-78B4-2100-795432A402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75950" y="254583"/>
            <a:ext cx="823227" cy="28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018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- 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650E0E-622F-7431-EEA3-2CF1D9DD42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242" y="6404830"/>
            <a:ext cx="10486560" cy="3895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13738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2pPr>
            <a:lvl3pPr marL="827475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3pPr>
            <a:lvl4pPr marL="1241213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4pPr>
            <a:lvl5pPr marL="165495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/>
              <a:t>Footer / Arial Regular / Size: 8pt / Colour: #8996A0 / Left Align</a:t>
            </a:r>
          </a:p>
        </p:txBody>
      </p:sp>
      <p:sp>
        <p:nvSpPr>
          <p:cNvPr id="12" name="Marcador de texto 21">
            <a:extLst>
              <a:ext uri="{FF2B5EF4-FFF2-40B4-BE49-F238E27FC236}">
                <a16:creationId xmlns:a16="http://schemas.microsoft.com/office/drawing/2014/main" id="{0A240217-A519-FB25-934C-C26BE9536C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8862" y="364973"/>
            <a:ext cx="7902496" cy="176074"/>
          </a:xfrm>
        </p:spPr>
        <p:txBody>
          <a:bodyPr wrap="square" lIns="0" tIns="0" rIns="0" bIns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/>
              <a:t>Arial Regular / Size: 11pt / Colour: #818E98. Right align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5C9084-937C-BF7B-F219-0C9E18B70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352851"/>
            <a:ext cx="12192000" cy="215229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612000" tIns="0" rIns="0" bIns="0" rtlCol="0" anchor="ctr" anchorCtr="0">
            <a:noAutofit/>
          </a:bodyPr>
          <a:lstStyle>
            <a:lvl1pPr marL="0" indent="0">
              <a:tabLst/>
              <a:defRPr sz="30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TITLE 1 - Arial Bold / Size: 30pt / Colour: #003478 </a:t>
            </a:r>
          </a:p>
        </p:txBody>
      </p:sp>
    </p:spTree>
    <p:extLst>
      <p:ext uri="{BB962C8B-B14F-4D97-AF65-F5344CB8AC3E}">
        <p14:creationId xmlns:p14="http://schemas.microsoft.com/office/powerpoint/2010/main" val="15688324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4CDE6DBB-BA2E-4B6E-2043-FCFE514EC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528" y="1009715"/>
            <a:ext cx="10974631" cy="43088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GB" noProof="0" dirty="0"/>
              <a:t>Arial Bold / Size: 28pt / Colour: #003478</a:t>
            </a:r>
          </a:p>
        </p:txBody>
      </p:sp>
      <p:sp>
        <p:nvSpPr>
          <p:cNvPr id="10" name="Marcador de texto 21">
            <a:extLst>
              <a:ext uri="{FF2B5EF4-FFF2-40B4-BE49-F238E27FC236}">
                <a16:creationId xmlns:a16="http://schemas.microsoft.com/office/drawing/2014/main" id="{73EE8214-8330-10DB-E174-A146D7A2FC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1531" y="1651487"/>
            <a:ext cx="5164705" cy="4273578"/>
          </a:xfrm>
        </p:spPr>
        <p:txBody>
          <a:bodyPr wrap="square" lIns="0" tIns="0" rIns="0" bIns="0">
            <a:noAutofit/>
          </a:bodyPr>
          <a:lstStyle>
            <a:lvl1pPr marL="342900" indent="-3429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</a:lstStyle>
          <a:p>
            <a:pPr lvl="0"/>
            <a:r>
              <a:rPr lang="en-GB" noProof="0" dirty="0"/>
              <a:t>Arial Regular- 15pt </a:t>
            </a:r>
          </a:p>
          <a:p>
            <a:pPr lvl="0"/>
            <a:r>
              <a:rPr lang="en-GB" noProof="0" dirty="0"/>
              <a:t>Arial Regular- 15pt</a:t>
            </a:r>
          </a:p>
          <a:p>
            <a:pPr marL="538163" marR="0" lvl="1" indent="-179388" algn="l" defTabSz="8274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Arial Regular- 15pt</a:t>
            </a:r>
          </a:p>
          <a:p>
            <a:pPr marL="538163" marR="0" lvl="1" indent="-179388" algn="l" defTabSz="8274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Arial Regular- 15pt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noProof="0" dirty="0"/>
              <a:t>Arial Regular- 15pt </a:t>
            </a:r>
          </a:p>
        </p:txBody>
      </p:sp>
      <p:sp>
        <p:nvSpPr>
          <p:cNvPr id="2" name="Marcador de texto 21">
            <a:extLst>
              <a:ext uri="{FF2B5EF4-FFF2-40B4-BE49-F238E27FC236}">
                <a16:creationId xmlns:a16="http://schemas.microsoft.com/office/drawing/2014/main" id="{AD52A137-E4E6-B18F-9FA5-2D5DD36EB1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15766" y="1651487"/>
            <a:ext cx="5164705" cy="4273578"/>
          </a:xfrm>
        </p:spPr>
        <p:txBody>
          <a:bodyPr wrap="square" lIns="0" tIns="0" rIns="0" bIns="0">
            <a:noAutofit/>
          </a:bodyPr>
          <a:lstStyle>
            <a:lvl1pPr marL="342900" indent="-342900">
              <a:lnSpc>
                <a:spcPct val="100000"/>
              </a:lnSpc>
              <a:spcBef>
                <a:spcPts val="1200"/>
              </a:spcBef>
              <a:buFont typeface="+mj-lt"/>
              <a:buAutoNum type="arabicPeriod" startAt="11"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</a:lstStyle>
          <a:p>
            <a:pPr lvl="0"/>
            <a:r>
              <a:rPr lang="en-GB" noProof="0" dirty="0"/>
              <a:t>Arial Regular- 15pt </a:t>
            </a:r>
          </a:p>
          <a:p>
            <a:pPr lvl="0"/>
            <a:r>
              <a:rPr lang="en-GB" noProof="0" dirty="0"/>
              <a:t>Arial Regular- 15pt</a:t>
            </a:r>
          </a:p>
          <a:p>
            <a:pPr lvl="0"/>
            <a:r>
              <a:rPr lang="en-GB" noProof="0" dirty="0"/>
              <a:t>Arial Regular- 15pt</a:t>
            </a:r>
          </a:p>
          <a:p>
            <a:pPr lvl="1"/>
            <a:r>
              <a:rPr lang="en-GB" noProof="0" dirty="0"/>
              <a:t>Arial Regular- 15pt </a:t>
            </a:r>
          </a:p>
          <a:p>
            <a:pPr lvl="1"/>
            <a:r>
              <a:rPr lang="en-GB" noProof="0" dirty="0"/>
              <a:t>Arial Regular- 15pt</a:t>
            </a:r>
          </a:p>
          <a:p>
            <a:pPr marL="342900" marR="0" lvl="0" indent="-342900" algn="l" defTabSz="82747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 startAt="11"/>
              <a:tabLst/>
              <a:defRPr/>
            </a:pPr>
            <a:r>
              <a:rPr lang="en-GB" noProof="0" dirty="0"/>
              <a:t>Arial 15 / Colour: #818E98</a:t>
            </a:r>
          </a:p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27668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650E0E-622F-7431-EEA3-2CF1D9DD42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242" y="6404830"/>
            <a:ext cx="10297150" cy="3895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13738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2pPr>
            <a:lvl3pPr marL="827475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3pPr>
            <a:lvl4pPr marL="1241213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4pPr>
            <a:lvl5pPr marL="165495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/>
              <a:t>Footer / Arial Regular / Size: 8pt / Colour: #8996A0 / Left Align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5C9084-937C-BF7B-F219-0C9E18B70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243" y="795601"/>
            <a:ext cx="1098311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GB" noProof="0" dirty="0"/>
              <a:t>TITLE 1 - Arial Bold / Size: 20pt / Colour: #003478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B70504-56F2-FED3-5F5A-5E4F6B0F75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7647" y="1644859"/>
            <a:ext cx="10984523" cy="417681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 dirty="0"/>
          </a:p>
        </p:txBody>
      </p:sp>
      <p:sp>
        <p:nvSpPr>
          <p:cNvPr id="3" name="Marcador de texto 21">
            <a:extLst>
              <a:ext uri="{FF2B5EF4-FFF2-40B4-BE49-F238E27FC236}">
                <a16:creationId xmlns:a16="http://schemas.microsoft.com/office/drawing/2014/main" id="{FE9036AD-6538-210B-1180-51816098AA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8862" y="364973"/>
            <a:ext cx="7902496" cy="176074"/>
          </a:xfrm>
        </p:spPr>
        <p:txBody>
          <a:bodyPr wrap="square" lIns="0" tIns="0" rIns="0" bIns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/>
              <a:t>Arial Regular / Size: 11pt / Colour: #818E98. Right align</a:t>
            </a:r>
          </a:p>
        </p:txBody>
      </p:sp>
    </p:spTree>
    <p:extLst>
      <p:ext uri="{BB962C8B-B14F-4D97-AF65-F5344CB8AC3E}">
        <p14:creationId xmlns:p14="http://schemas.microsoft.com/office/powerpoint/2010/main" val="2133162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8243" y="795601"/>
            <a:ext cx="1098311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TITLE 1 - Arial Bold / Size: 20pt / Colour: #003478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8244" y="1644859"/>
            <a:ext cx="10983118" cy="35682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Title 1 - Font: Arial</a:t>
            </a:r>
          </a:p>
          <a:p>
            <a:pPr lvl="1"/>
            <a:r>
              <a:rPr lang="en-GB" dirty="0"/>
              <a:t>Title 2 - Font: Arial  </a:t>
            </a:r>
          </a:p>
          <a:p>
            <a:pPr lvl="2"/>
            <a:r>
              <a:rPr lang="en-GB" dirty="0"/>
              <a:t>Title 3 - Font: Arial </a:t>
            </a:r>
          </a:p>
          <a:p>
            <a:pPr lvl="3"/>
            <a:r>
              <a:rPr lang="en-GB" dirty="0"/>
              <a:t>Text 4 - Font: Arial </a:t>
            </a:r>
          </a:p>
          <a:p>
            <a:pPr lvl="4"/>
            <a:r>
              <a:rPr lang="en-GB" dirty="0"/>
              <a:t>Text 5 - Font: Arial </a:t>
            </a:r>
          </a:p>
        </p:txBody>
      </p:sp>
      <p:cxnSp>
        <p:nvCxnSpPr>
          <p:cNvPr id="5" name="Conector recto 8">
            <a:extLst>
              <a:ext uri="{FF2B5EF4-FFF2-40B4-BE49-F238E27FC236}">
                <a16:creationId xmlns:a16="http://schemas.microsoft.com/office/drawing/2014/main" id="{3B0062CE-6EAF-8E6B-86C2-F223BEE99A82}"/>
              </a:ext>
            </a:extLst>
          </p:cNvPr>
          <p:cNvCxnSpPr>
            <a:cxnSpLocks/>
          </p:cNvCxnSpPr>
          <p:nvPr userDrawn="1"/>
        </p:nvCxnSpPr>
        <p:spPr>
          <a:xfrm>
            <a:off x="608685" y="649796"/>
            <a:ext cx="10974631" cy="0"/>
          </a:xfrm>
          <a:prstGeom prst="line">
            <a:avLst/>
          </a:prstGeom>
          <a:ln w="19050">
            <a:solidFill>
              <a:srgbClr val="D9DDE0">
                <a:alpha val="70000"/>
              </a:srgb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" name="Conector recto 10">
            <a:extLst>
              <a:ext uri="{FF2B5EF4-FFF2-40B4-BE49-F238E27FC236}">
                <a16:creationId xmlns:a16="http://schemas.microsoft.com/office/drawing/2014/main" id="{872E6FA2-AA48-B078-0DC7-F92DBD1BA3C6}"/>
              </a:ext>
            </a:extLst>
          </p:cNvPr>
          <p:cNvCxnSpPr>
            <a:cxnSpLocks/>
          </p:cNvCxnSpPr>
          <p:nvPr userDrawn="1"/>
        </p:nvCxnSpPr>
        <p:spPr>
          <a:xfrm>
            <a:off x="608493" y="6356352"/>
            <a:ext cx="10975015" cy="0"/>
          </a:xfrm>
          <a:prstGeom prst="line">
            <a:avLst/>
          </a:prstGeom>
          <a:ln w="19050">
            <a:solidFill>
              <a:srgbClr val="D9DDE0">
                <a:alpha val="70000"/>
              </a:srgb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2 Marcador de número de diapositiva">
            <a:extLst>
              <a:ext uri="{FF2B5EF4-FFF2-40B4-BE49-F238E27FC236}">
                <a16:creationId xmlns:a16="http://schemas.microsoft.com/office/drawing/2014/main" id="{B2AD802E-8003-4D10-D92A-D15E82A7D623}"/>
              </a:ext>
            </a:extLst>
          </p:cNvPr>
          <p:cNvSpPr txBox="1"/>
          <p:nvPr userDrawn="1"/>
        </p:nvSpPr>
        <p:spPr>
          <a:xfrm>
            <a:off x="11012979" y="6390421"/>
            <a:ext cx="570529" cy="29698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1A7CEF99-55C6-4480-A94C-7A7D18CCB18B}" type="slidenum">
              <a:rPr kumimoji="0" lang="en-GB" sz="1000" b="0" i="0" u="none" strike="noStrike" kern="1200" cap="none" spc="0" normalizeH="0" noProof="1" smtClean="0">
                <a:ln>
                  <a:noFill/>
                </a:ln>
                <a:solidFill>
                  <a:schemeClr val="tx2"/>
                </a:solidFill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kumimoji="0" lang="en-GB" sz="1000" b="0" i="0" u="none" strike="noStrike" kern="1200" cap="none" spc="0" normalizeH="0" noProof="1">
              <a:ln>
                <a:noFill/>
              </a:ln>
              <a:solidFill>
                <a:schemeClr val="tx2"/>
              </a:solidFill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BD1FEEA-576D-7015-1459-141F03B7862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8243" y="252191"/>
            <a:ext cx="746529" cy="258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301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07" r:id="rId2"/>
    <p:sldLayoutId id="2147483708" r:id="rId3"/>
    <p:sldLayoutId id="2147483710" r:id="rId4"/>
    <p:sldLayoutId id="2147483711" r:id="rId5"/>
    <p:sldLayoutId id="2147483709" r:id="rId6"/>
    <p:sldLayoutId id="2147483728" r:id="rId7"/>
    <p:sldLayoutId id="2147483716" r:id="rId8"/>
    <p:sldLayoutId id="2147483722" r:id="rId9"/>
    <p:sldLayoutId id="2147483718" r:id="rId10"/>
    <p:sldLayoutId id="2147483714" r:id="rId11"/>
    <p:sldLayoutId id="2147483726" r:id="rId12"/>
    <p:sldLayoutId id="2147483717" r:id="rId13"/>
  </p:sldLayoutIdLst>
  <p:hf hdr="0" ftr="0" dt="0"/>
  <p:txStyles>
    <p:titleStyle>
      <a:lvl1pPr algn="l" defTabSz="827475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38163" indent="-179388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2pPr>
      <a:lvl3pPr marL="895350" indent="-176213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254125" indent="-173038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612900" indent="-176213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275557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6pPr>
      <a:lvl7pPr marL="2689295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7pPr>
      <a:lvl8pPr marL="3103032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8pPr>
      <a:lvl9pPr marL="3516770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1pPr>
      <a:lvl2pPr marL="413738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2pPr>
      <a:lvl3pPr marL="827475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3pPr>
      <a:lvl4pPr marL="1241213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4pPr>
      <a:lvl5pPr marL="1654951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5pPr>
      <a:lvl6pPr marL="2068688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6pPr>
      <a:lvl7pPr marL="2482425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7pPr>
      <a:lvl8pPr marL="2896163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8pPr>
      <a:lvl9pPr marL="3309901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382" userDrawn="1">
          <p15:clr>
            <a:srgbClr val="F26B43"/>
          </p15:clr>
        </p15:guide>
        <p15:guide id="6" orient="horz" pos="4000" userDrawn="1">
          <p15:clr>
            <a:srgbClr val="F26B43"/>
          </p15:clr>
        </p15:guide>
        <p15:guide id="8" pos="7301" userDrawn="1">
          <p15:clr>
            <a:srgbClr val="F26B43"/>
          </p15:clr>
        </p15:guide>
        <p15:guide id="10" orient="horz" pos="504" userDrawn="1">
          <p15:clr>
            <a:srgbClr val="F26B43"/>
          </p15:clr>
        </p15:guide>
        <p15:guide id="11" orient="horz" pos="10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8243" y="795601"/>
            <a:ext cx="1098311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TITLE 1 - Arial Bold / Size: 20pt / Colour: #003478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8244" y="1644859"/>
            <a:ext cx="10983118" cy="35682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Title 1 - Font: Arial / Size: 18pt</a:t>
            </a:r>
          </a:p>
          <a:p>
            <a:pPr lvl="1"/>
            <a:r>
              <a:rPr lang="en-GB" dirty="0"/>
              <a:t>Title 2 - Font: Arial / Size: 16pt</a:t>
            </a:r>
          </a:p>
          <a:p>
            <a:pPr lvl="2"/>
            <a:r>
              <a:rPr lang="en-GB" dirty="0"/>
              <a:t>Title 3 - Font: Arial / Size: 14pt</a:t>
            </a:r>
          </a:p>
          <a:p>
            <a:pPr lvl="3"/>
            <a:r>
              <a:rPr lang="en-GB" dirty="0"/>
              <a:t>Text 4 - Font: Arial / Size: 12pt</a:t>
            </a:r>
          </a:p>
          <a:p>
            <a:pPr lvl="4"/>
            <a:r>
              <a:rPr lang="en-GB" dirty="0"/>
              <a:t>Text 5 - Font: Arial / Size: 10pt</a:t>
            </a:r>
          </a:p>
        </p:txBody>
      </p:sp>
      <p:cxnSp>
        <p:nvCxnSpPr>
          <p:cNvPr id="5" name="Conector recto 8">
            <a:extLst>
              <a:ext uri="{FF2B5EF4-FFF2-40B4-BE49-F238E27FC236}">
                <a16:creationId xmlns:a16="http://schemas.microsoft.com/office/drawing/2014/main" id="{3B0062CE-6EAF-8E6B-86C2-F223BEE99A82}"/>
              </a:ext>
            </a:extLst>
          </p:cNvPr>
          <p:cNvCxnSpPr>
            <a:cxnSpLocks/>
          </p:cNvCxnSpPr>
          <p:nvPr/>
        </p:nvCxnSpPr>
        <p:spPr>
          <a:xfrm>
            <a:off x="608685" y="649796"/>
            <a:ext cx="10974631" cy="0"/>
          </a:xfrm>
          <a:prstGeom prst="line">
            <a:avLst/>
          </a:prstGeom>
          <a:ln w="19050">
            <a:solidFill>
              <a:srgbClr val="D9DDE0">
                <a:alpha val="70000"/>
              </a:srgb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" name="Conector recto 10">
            <a:extLst>
              <a:ext uri="{FF2B5EF4-FFF2-40B4-BE49-F238E27FC236}">
                <a16:creationId xmlns:a16="http://schemas.microsoft.com/office/drawing/2014/main" id="{872E6FA2-AA48-B078-0DC7-F92DBD1BA3C6}"/>
              </a:ext>
            </a:extLst>
          </p:cNvPr>
          <p:cNvCxnSpPr>
            <a:cxnSpLocks/>
          </p:cNvCxnSpPr>
          <p:nvPr/>
        </p:nvCxnSpPr>
        <p:spPr>
          <a:xfrm>
            <a:off x="608493" y="6356352"/>
            <a:ext cx="10975015" cy="0"/>
          </a:xfrm>
          <a:prstGeom prst="line">
            <a:avLst/>
          </a:prstGeom>
          <a:ln w="19050">
            <a:solidFill>
              <a:srgbClr val="D9DDE0">
                <a:alpha val="70000"/>
              </a:srgb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2 Marcador de número de diapositiva">
            <a:extLst>
              <a:ext uri="{FF2B5EF4-FFF2-40B4-BE49-F238E27FC236}">
                <a16:creationId xmlns:a16="http://schemas.microsoft.com/office/drawing/2014/main" id="{B2AD802E-8003-4D10-D92A-D15E82A7D623}"/>
              </a:ext>
            </a:extLst>
          </p:cNvPr>
          <p:cNvSpPr txBox="1"/>
          <p:nvPr/>
        </p:nvSpPr>
        <p:spPr>
          <a:xfrm>
            <a:off x="11012979" y="6390421"/>
            <a:ext cx="570529" cy="29698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1A7CEF99-55C6-4480-A94C-7A7D18CCB18B}" type="slidenum">
              <a:rPr kumimoji="0" lang="en-GB" sz="1000" b="0" i="0" u="none" strike="noStrike" kern="1200" cap="none" spc="0" normalizeH="0" noProof="1" smtClean="0">
                <a:ln>
                  <a:noFill/>
                </a:ln>
                <a:solidFill>
                  <a:schemeClr val="tx2"/>
                </a:solidFill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kumimoji="0" lang="en-GB" sz="1000" b="0" i="0" u="none" strike="noStrike" kern="1200" cap="none" spc="0" normalizeH="0" noProof="1">
              <a:ln>
                <a:noFill/>
              </a:ln>
              <a:solidFill>
                <a:schemeClr val="tx2"/>
              </a:solidFill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EBD1FEEA-576D-7015-1459-141F03B786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8243" y="252191"/>
            <a:ext cx="746529" cy="258479"/>
          </a:xfrm>
          <a:prstGeom prst="rect">
            <a:avLst/>
          </a:prstGeom>
        </p:spPr>
      </p:pic>
    </p:spTree>
    <p:custDataLst>
      <p:custData r:id="rId3"/>
    </p:custDataLst>
    <p:extLst>
      <p:ext uri="{BB962C8B-B14F-4D97-AF65-F5344CB8AC3E}">
        <p14:creationId xmlns:p14="http://schemas.microsoft.com/office/powerpoint/2010/main" val="214576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</p:sldLayoutIdLst>
  <p:hf hdr="0" ftr="0" dt="0"/>
  <p:txStyles>
    <p:titleStyle>
      <a:lvl1pPr algn="l" defTabSz="827475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176213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254125" indent="-173038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12900" indent="-176213" algn="l" defTabSz="827475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275557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6pPr>
      <a:lvl7pPr marL="2689295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7pPr>
      <a:lvl8pPr marL="3103032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8pPr>
      <a:lvl9pPr marL="3516770" indent="-206870" algn="l" defTabSz="827475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sz="16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1pPr>
      <a:lvl2pPr marL="413738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2pPr>
      <a:lvl3pPr marL="827475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3pPr>
      <a:lvl4pPr marL="1241213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4pPr>
      <a:lvl5pPr marL="1654951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5pPr>
      <a:lvl6pPr marL="2068688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6pPr>
      <a:lvl7pPr marL="2482425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7pPr>
      <a:lvl8pPr marL="2896163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8pPr>
      <a:lvl9pPr marL="3309901" algn="l" defTabSz="827475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382">
          <p15:clr>
            <a:srgbClr val="F26B43"/>
          </p15:clr>
        </p15:guide>
        <p15:guide id="6" orient="horz" pos="4000">
          <p15:clr>
            <a:srgbClr val="F26B43"/>
          </p15:clr>
        </p15:guide>
        <p15:guide id="8" pos="7301">
          <p15:clr>
            <a:srgbClr val="F26B43"/>
          </p15:clr>
        </p15:guide>
        <p15:guide id="10" orient="horz" pos="504">
          <p15:clr>
            <a:srgbClr val="F26B43"/>
          </p15:clr>
        </p15:guide>
        <p15:guide id="11" orient="horz" pos="10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3C8282B9-4F62-A0F8-08EF-33FC320C0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527" y="1681239"/>
            <a:ext cx="5091689" cy="1384995"/>
          </a:xfrm>
        </p:spPr>
        <p:txBody>
          <a:bodyPr/>
          <a:lstStyle/>
          <a:p>
            <a:r>
              <a:rPr lang="en-GB" dirty="0"/>
              <a:t>Organising SESAR: stakeholder engagement and next step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D65ED84-5C41-0B9B-0800-CC541E67BA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3733879"/>
            <a:ext cx="5316537" cy="1107996"/>
          </a:xfrm>
        </p:spPr>
        <p:txBody>
          <a:bodyPr/>
          <a:lstStyle/>
          <a:p>
            <a:r>
              <a:rPr lang="en-GB" noProof="1"/>
              <a:t>22</a:t>
            </a:r>
            <a:r>
              <a:rPr lang="en-GB" baseline="30000" noProof="1"/>
              <a:t>nd</a:t>
            </a:r>
            <a:r>
              <a:rPr lang="en-GB" noProof="1"/>
              <a:t> Florence Air Forum</a:t>
            </a:r>
          </a:p>
          <a:p>
            <a:r>
              <a:rPr lang="en-GB" i="1" noProof="1"/>
              <a:t>Florence school of Regulation</a:t>
            </a:r>
          </a:p>
          <a:p>
            <a:endParaRPr lang="en-GB" noProof="1"/>
          </a:p>
          <a:p>
            <a:r>
              <a:rPr lang="en-GB" sz="1200" noProof="1"/>
              <a:t>21 November 2025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28C2392-B1BD-B561-ADCD-3BD42C08C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24" r="419"/>
          <a:stretch/>
        </p:blipFill>
        <p:spPr>
          <a:xfrm>
            <a:off x="6019800" y="0"/>
            <a:ext cx="6172200" cy="6872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9677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7CC43C3-38D7-F6C1-B506-E3F02E4A6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3" y="795602"/>
            <a:ext cx="10983116" cy="307777"/>
          </a:xfrm>
        </p:spPr>
        <p:txBody>
          <a:bodyPr/>
          <a:lstStyle/>
          <a:p>
            <a:r>
              <a:rPr lang="en-GB" dirty="0"/>
              <a:t>ATFM delay would increase exponentially if nothing is don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3AA056A-5039-CD52-BC37-26644C8543BE}"/>
              </a:ext>
            </a:extLst>
          </p:cNvPr>
          <p:cNvGrpSpPr/>
          <p:nvPr/>
        </p:nvGrpSpPr>
        <p:grpSpPr>
          <a:xfrm>
            <a:off x="1316363" y="1598550"/>
            <a:ext cx="9208566" cy="4634395"/>
            <a:chOff x="597157" y="2111733"/>
            <a:chExt cx="6626648" cy="3334993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77F51EAC-65E5-511E-186D-C82ACBC0E2E7}"/>
                </a:ext>
              </a:extLst>
            </p:cNvPr>
            <p:cNvGrpSpPr/>
            <p:nvPr/>
          </p:nvGrpSpPr>
          <p:grpSpPr>
            <a:xfrm>
              <a:off x="597157" y="2111733"/>
              <a:ext cx="6626648" cy="3334993"/>
              <a:chOff x="597386" y="1196340"/>
              <a:chExt cx="10741894" cy="4937760"/>
            </a:xfrm>
          </p:grpSpPr>
          <p:graphicFrame>
            <p:nvGraphicFramePr>
              <p:cNvPr id="9" name="Gráfico 8">
                <a:extLst>
                  <a:ext uri="{FF2B5EF4-FFF2-40B4-BE49-F238E27FC236}">
                    <a16:creationId xmlns:a16="http://schemas.microsoft.com/office/drawing/2014/main" id="{AA8AC71A-A871-DD16-4CDC-EBC3DE35E04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51032985"/>
                  </p:ext>
                </p:extLst>
              </p:nvPr>
            </p:nvGraphicFramePr>
            <p:xfrm>
              <a:off x="852721" y="1196340"/>
              <a:ext cx="10486559" cy="493776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4" name="Rectángulo 160">
                <a:extLst>
                  <a:ext uri="{FF2B5EF4-FFF2-40B4-BE49-F238E27FC236}">
                    <a16:creationId xmlns:a16="http://schemas.microsoft.com/office/drawing/2014/main" id="{E4EC2FFA-6D59-CA84-A376-E82AB228FB07}"/>
                  </a:ext>
                </a:extLst>
              </p:cNvPr>
              <p:cNvSpPr/>
              <p:nvPr/>
            </p:nvSpPr>
            <p:spPr>
              <a:xfrm rot="16200000">
                <a:off x="-810315" y="3353425"/>
                <a:ext cx="3151530" cy="336127"/>
              </a:xfrm>
              <a:prstGeom prst="rect">
                <a:avLst/>
              </a:prstGeom>
              <a:solidFill>
                <a:schemeClr val="bg1"/>
              </a:solidFill>
              <a:ln w="63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36000" rIns="72000" bIns="3600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GB" sz="1400" b="1" dirty="0">
                    <a:solidFill>
                      <a:schemeClr val="accent1"/>
                    </a:solidFill>
                  </a:rPr>
                  <a:t>En Route ATFM Delay (min/flight)</a:t>
                </a:r>
              </a:p>
            </p:txBody>
          </p:sp>
          <p:cxnSp>
            <p:nvCxnSpPr>
              <p:cNvPr id="15" name="Conector recto 14">
                <a:extLst>
                  <a:ext uri="{FF2B5EF4-FFF2-40B4-BE49-F238E27FC236}">
                    <a16:creationId xmlns:a16="http://schemas.microsoft.com/office/drawing/2014/main" id="{382AE51D-0620-0189-5AAC-73C1900B90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32784" y="4623935"/>
                <a:ext cx="0" cy="843844"/>
              </a:xfrm>
              <a:prstGeom prst="line">
                <a:avLst/>
              </a:prstGeom>
              <a:ln w="12700">
                <a:solidFill>
                  <a:schemeClr val="accent3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ector recto 15">
                <a:extLst>
                  <a:ext uri="{FF2B5EF4-FFF2-40B4-BE49-F238E27FC236}">
                    <a16:creationId xmlns:a16="http://schemas.microsoft.com/office/drawing/2014/main" id="{B829A09E-51DD-91D6-73D1-7D122C923A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06158" y="4124572"/>
                <a:ext cx="0" cy="1342479"/>
              </a:xfrm>
              <a:prstGeom prst="line">
                <a:avLst/>
              </a:prstGeom>
              <a:ln w="12700">
                <a:solidFill>
                  <a:schemeClr val="accent3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ector recto 17">
                <a:extLst>
                  <a:ext uri="{FF2B5EF4-FFF2-40B4-BE49-F238E27FC236}">
                    <a16:creationId xmlns:a16="http://schemas.microsoft.com/office/drawing/2014/main" id="{7AB66B0F-42F0-9F66-5BDF-44D78BC4B4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49690" y="2500728"/>
                <a:ext cx="0" cy="2953454"/>
              </a:xfrm>
              <a:prstGeom prst="line">
                <a:avLst/>
              </a:prstGeom>
              <a:ln w="12700">
                <a:solidFill>
                  <a:schemeClr val="accent3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ector recto 18">
                <a:extLst>
                  <a:ext uri="{FF2B5EF4-FFF2-40B4-BE49-F238E27FC236}">
                    <a16:creationId xmlns:a16="http://schemas.microsoft.com/office/drawing/2014/main" id="{BE6B6D7F-D0B7-D529-C90A-DDBD323FF3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14278" y="1308877"/>
                <a:ext cx="0" cy="4142506"/>
              </a:xfrm>
              <a:prstGeom prst="line">
                <a:avLst/>
              </a:prstGeom>
              <a:ln w="12700">
                <a:solidFill>
                  <a:schemeClr val="accent3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Conector recto 24">
                <a:extLst>
                  <a:ext uri="{FF2B5EF4-FFF2-40B4-BE49-F238E27FC236}">
                    <a16:creationId xmlns:a16="http://schemas.microsoft.com/office/drawing/2014/main" id="{9319E0ED-50FE-5A42-B832-2350868D77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74424" y="5045857"/>
                <a:ext cx="0" cy="268657"/>
              </a:xfrm>
              <a:prstGeom prst="line">
                <a:avLst/>
              </a:prstGeom>
              <a:ln w="12700">
                <a:solidFill>
                  <a:schemeClr val="accent3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" name="Rectángulo 160">
              <a:extLst>
                <a:ext uri="{FF2B5EF4-FFF2-40B4-BE49-F238E27FC236}">
                  <a16:creationId xmlns:a16="http://schemas.microsoft.com/office/drawing/2014/main" id="{D364DB13-2718-651B-16D4-38A3C79F0AB8}"/>
                </a:ext>
              </a:extLst>
            </p:cNvPr>
            <p:cNvSpPr/>
            <p:nvPr/>
          </p:nvSpPr>
          <p:spPr>
            <a:xfrm>
              <a:off x="4404977" y="2798746"/>
              <a:ext cx="1243500" cy="181344"/>
            </a:xfrm>
            <a:prstGeom prst="rect">
              <a:avLst/>
            </a:prstGeom>
            <a:solidFill>
              <a:srgbClr val="E1F1FF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tx1"/>
                  </a:solidFill>
                </a:rPr>
                <a:t>Masterplan Phase D</a:t>
              </a:r>
            </a:p>
          </p:txBody>
        </p:sp>
        <p:sp>
          <p:nvSpPr>
            <p:cNvPr id="5" name="Rectángulo 160">
              <a:extLst>
                <a:ext uri="{FF2B5EF4-FFF2-40B4-BE49-F238E27FC236}">
                  <a16:creationId xmlns:a16="http://schemas.microsoft.com/office/drawing/2014/main" id="{E266B5DB-6C49-E68B-F08D-E17E0675745C}"/>
                </a:ext>
              </a:extLst>
            </p:cNvPr>
            <p:cNvSpPr/>
            <p:nvPr/>
          </p:nvSpPr>
          <p:spPr>
            <a:xfrm>
              <a:off x="3240776" y="3575841"/>
              <a:ext cx="1239922" cy="181344"/>
            </a:xfrm>
            <a:prstGeom prst="rect">
              <a:avLst/>
            </a:prstGeom>
            <a:solidFill>
              <a:srgbClr val="E1F1FF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tx1"/>
                  </a:solidFill>
                </a:rPr>
                <a:t>Masterplan Phase C</a:t>
              </a:r>
            </a:p>
          </p:txBody>
        </p:sp>
        <p:sp>
          <p:nvSpPr>
            <p:cNvPr id="6" name="Rectángulo 160">
              <a:extLst>
                <a:ext uri="{FF2B5EF4-FFF2-40B4-BE49-F238E27FC236}">
                  <a16:creationId xmlns:a16="http://schemas.microsoft.com/office/drawing/2014/main" id="{7DFB1CDE-01BC-EDAB-0AA8-18F1D0381BCD}"/>
                </a:ext>
              </a:extLst>
            </p:cNvPr>
            <p:cNvSpPr/>
            <p:nvPr/>
          </p:nvSpPr>
          <p:spPr>
            <a:xfrm>
              <a:off x="2147662" y="4083236"/>
              <a:ext cx="1243500" cy="174133"/>
            </a:xfrm>
            <a:prstGeom prst="rect">
              <a:avLst/>
            </a:prstGeom>
            <a:solidFill>
              <a:srgbClr val="E1F1FF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tx1"/>
                  </a:solidFill>
                </a:rPr>
                <a:t>Masterplan Phase A+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9898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79 Rectángulo">
            <a:extLst>
              <a:ext uri="{FF2B5EF4-FFF2-40B4-BE49-F238E27FC236}">
                <a16:creationId xmlns:a16="http://schemas.microsoft.com/office/drawing/2014/main" id="{3499846A-6C97-3501-D3AC-E29E923F7068}"/>
              </a:ext>
            </a:extLst>
          </p:cNvPr>
          <p:cNvSpPr/>
          <p:nvPr/>
        </p:nvSpPr>
        <p:spPr>
          <a:xfrm>
            <a:off x="0" y="1641475"/>
            <a:ext cx="12191999" cy="4708525"/>
          </a:xfrm>
          <a:prstGeom prst="rect">
            <a:avLst/>
          </a:prstGeom>
          <a:solidFill>
            <a:schemeClr val="accent3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5"/>
              </a:solidFill>
            </a:endParaRPr>
          </a:p>
        </p:txBody>
      </p:sp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243" y="795601"/>
            <a:ext cx="10983116" cy="307777"/>
          </a:xfrm>
        </p:spPr>
        <p:txBody>
          <a:bodyPr/>
          <a:lstStyle/>
          <a:p>
            <a:r>
              <a:rPr lang="en-GB" dirty="0"/>
              <a:t>Balancing ANSPs incentives and disincentives in view of RP5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3D7861A0-0BC1-D997-129F-A13BAEB37C21}"/>
              </a:ext>
            </a:extLst>
          </p:cNvPr>
          <p:cNvGrpSpPr/>
          <p:nvPr/>
        </p:nvGrpSpPr>
        <p:grpSpPr>
          <a:xfrm>
            <a:off x="3045272" y="2016372"/>
            <a:ext cx="5719540" cy="3851440"/>
            <a:chOff x="3239583" y="1771210"/>
            <a:chExt cx="5719540" cy="3851440"/>
          </a:xfrm>
        </p:grpSpPr>
        <p:cxnSp>
          <p:nvCxnSpPr>
            <p:cNvPr id="13" name="Straight Connector 12"/>
            <p:cNvCxnSpPr>
              <a:stCxn id="7" idx="3"/>
            </p:cNvCxnSpPr>
            <p:nvPr/>
          </p:nvCxnSpPr>
          <p:spPr>
            <a:xfrm flipH="1">
              <a:off x="7310583" y="2664549"/>
              <a:ext cx="653849" cy="1176520"/>
            </a:xfrm>
            <a:prstGeom prst="line">
              <a:avLst/>
            </a:prstGeom>
            <a:solidFill>
              <a:srgbClr val="D9D9D9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7" idx="5"/>
            </p:cNvCxnSpPr>
            <p:nvPr/>
          </p:nvCxnSpPr>
          <p:spPr>
            <a:xfrm>
              <a:off x="8090753" y="2664549"/>
              <a:ext cx="653850" cy="1176520"/>
            </a:xfrm>
            <a:prstGeom prst="line">
              <a:avLst/>
            </a:prstGeom>
            <a:solidFill>
              <a:srgbClr val="D9D9D9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>
              <a:stCxn id="6" idx="5"/>
            </p:cNvCxnSpPr>
            <p:nvPr/>
          </p:nvCxnSpPr>
          <p:spPr>
            <a:xfrm>
              <a:off x="4234274" y="1923694"/>
              <a:ext cx="653850" cy="1176520"/>
            </a:xfrm>
            <a:prstGeom prst="line">
              <a:avLst/>
            </a:prstGeom>
            <a:solidFill>
              <a:srgbClr val="D9D9D9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/>
            <p:cNvSpPr/>
            <p:nvPr/>
          </p:nvSpPr>
          <p:spPr>
            <a:xfrm>
              <a:off x="5388894" y="5076356"/>
              <a:ext cx="1115350" cy="546294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" name="Trapezoid 3"/>
            <p:cNvSpPr/>
            <p:nvPr/>
          </p:nvSpPr>
          <p:spPr>
            <a:xfrm flipV="1">
              <a:off x="3239583" y="3065392"/>
              <a:ext cx="1863061" cy="197870"/>
            </a:xfrm>
            <a:prstGeom prst="trapezoid">
              <a:avLst>
                <a:gd name="adj" fmla="val 73572"/>
              </a:avLst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" name="Trapezoid 4"/>
            <p:cNvSpPr/>
            <p:nvPr/>
          </p:nvSpPr>
          <p:spPr>
            <a:xfrm flipV="1">
              <a:off x="7096062" y="3806247"/>
              <a:ext cx="1863061" cy="197870"/>
            </a:xfrm>
            <a:prstGeom prst="trapezoid">
              <a:avLst>
                <a:gd name="adj" fmla="val 73572"/>
              </a:avLst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6" name="Oval 5"/>
            <p:cNvSpPr>
              <a:spLocks noChangeAspect="1"/>
            </p:cNvSpPr>
            <p:nvPr/>
          </p:nvSpPr>
          <p:spPr>
            <a:xfrm>
              <a:off x="4081790" y="1771210"/>
              <a:ext cx="178647" cy="178647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7" name="Oval 6"/>
            <p:cNvSpPr>
              <a:spLocks noChangeAspect="1"/>
            </p:cNvSpPr>
            <p:nvPr/>
          </p:nvSpPr>
          <p:spPr>
            <a:xfrm>
              <a:off x="7938269" y="2512064"/>
              <a:ext cx="178647" cy="178647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cxnSp>
          <p:nvCxnSpPr>
            <p:cNvPr id="9" name="Straight Connector 8"/>
            <p:cNvCxnSpPr>
              <a:stCxn id="6" idx="3"/>
            </p:cNvCxnSpPr>
            <p:nvPr/>
          </p:nvCxnSpPr>
          <p:spPr>
            <a:xfrm flipH="1">
              <a:off x="3454104" y="1923694"/>
              <a:ext cx="653849" cy="1141698"/>
            </a:xfrm>
            <a:prstGeom prst="line">
              <a:avLst/>
            </a:prstGeom>
            <a:solidFill>
              <a:srgbClr val="D9D9D9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6" idx="6"/>
              <a:endCxn id="7" idx="1"/>
            </p:cNvCxnSpPr>
            <p:nvPr/>
          </p:nvCxnSpPr>
          <p:spPr>
            <a:xfrm>
              <a:off x="4260437" y="1860534"/>
              <a:ext cx="3703995" cy="677694"/>
            </a:xfrm>
            <a:prstGeom prst="line">
              <a:avLst/>
            </a:prstGeom>
            <a:solidFill>
              <a:srgbClr val="D9D9D9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Isosceles Triangle 23"/>
            <p:cNvSpPr/>
            <p:nvPr/>
          </p:nvSpPr>
          <p:spPr>
            <a:xfrm>
              <a:off x="5866901" y="2162789"/>
              <a:ext cx="159336" cy="3163952"/>
            </a:xfrm>
            <a:prstGeom prst="triangl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Oval 26"/>
            <p:cNvSpPr>
              <a:spLocks noChangeAspect="1"/>
            </p:cNvSpPr>
            <p:nvPr/>
          </p:nvSpPr>
          <p:spPr>
            <a:xfrm>
              <a:off x="5847589" y="2110057"/>
              <a:ext cx="178647" cy="178647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0FCEA2-6AAD-D840-2FC5-F2AA30A604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55572" y="2783694"/>
              <a:ext cx="1219248" cy="2769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>
                  <a:solidFill>
                    <a:schemeClr val="accent6"/>
                  </a:solidFill>
                </a:rPr>
                <a:t>Innovation</a:t>
              </a:r>
            </a:p>
          </p:txBody>
        </p:sp>
        <p:sp>
          <p:nvSpPr>
            <p:cNvPr id="3" name="Rectangle 11">
              <a:extLst>
                <a:ext uri="{FF2B5EF4-FFF2-40B4-BE49-F238E27FC236}">
                  <a16:creationId xmlns:a16="http://schemas.microsoft.com/office/drawing/2014/main" id="{54AFDCF3-E1CE-3C4C-BA57-4B568B0DDA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85230" y="3526079"/>
              <a:ext cx="1326633" cy="2769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>
                  <a:solidFill>
                    <a:schemeClr val="accent5"/>
                  </a:solidFill>
                </a:rPr>
                <a:t>Stagnation</a:t>
              </a: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180998A6-51B4-F565-A4CC-023CA01EAB9C}"/>
              </a:ext>
            </a:extLst>
          </p:cNvPr>
          <p:cNvSpPr/>
          <p:nvPr/>
        </p:nvSpPr>
        <p:spPr>
          <a:xfrm>
            <a:off x="399672" y="2077107"/>
            <a:ext cx="2622008" cy="2046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Market demand</a:t>
            </a:r>
            <a:r>
              <a:rPr lang="en-GB" sz="1400" dirty="0">
                <a:solidFill>
                  <a:schemeClr val="tx1"/>
                </a:solidFill>
              </a:rPr>
              <a:t>: users and manufacture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Deployment mandate</a:t>
            </a:r>
            <a:r>
              <a:rPr lang="en-GB" sz="1400" dirty="0">
                <a:solidFill>
                  <a:schemeClr val="tx1"/>
                </a:solidFill>
              </a:rPr>
              <a:t>: Common Projec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Incentive schemes</a:t>
            </a:r>
            <a:r>
              <a:rPr lang="en-GB" sz="1400" dirty="0">
                <a:solidFill>
                  <a:schemeClr val="tx1"/>
                </a:solidFill>
              </a:rPr>
              <a:t>: on Capacity &amp; Environme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Reputation</a:t>
            </a:r>
            <a:r>
              <a:rPr lang="en-GB" sz="1400" dirty="0">
                <a:solidFill>
                  <a:schemeClr val="tx1"/>
                </a:solidFill>
              </a:rPr>
              <a:t>: reporting and benchmarking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98D07DB-0976-1DDD-1EB2-106106E78AA6}"/>
              </a:ext>
            </a:extLst>
          </p:cNvPr>
          <p:cNvSpPr/>
          <p:nvPr/>
        </p:nvSpPr>
        <p:spPr>
          <a:xfrm>
            <a:off x="8775190" y="2355219"/>
            <a:ext cx="3286178" cy="2046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Financial constraints</a:t>
            </a:r>
            <a:r>
              <a:rPr lang="en-GB" sz="1400" dirty="0">
                <a:solidFill>
                  <a:schemeClr val="tx1"/>
                </a:solidFill>
              </a:rPr>
              <a:t>: reducing cos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Lack of competition</a:t>
            </a:r>
            <a:r>
              <a:rPr lang="en-GB" sz="1400" dirty="0">
                <a:solidFill>
                  <a:schemeClr val="tx1"/>
                </a:solidFill>
              </a:rPr>
              <a:t>: no commercial pressure to innovat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Business continuity</a:t>
            </a:r>
            <a:r>
              <a:rPr lang="en-GB" sz="1400" dirty="0">
                <a:solidFill>
                  <a:schemeClr val="tx1"/>
                </a:solidFill>
              </a:rPr>
              <a:t>: new standards and cybersecurity threa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Safety criticality</a:t>
            </a:r>
            <a:r>
              <a:rPr lang="en-GB" sz="1400" dirty="0">
                <a:solidFill>
                  <a:schemeClr val="tx1"/>
                </a:solidFill>
              </a:rPr>
              <a:t>: primacy of safety over performance</a:t>
            </a:r>
          </a:p>
        </p:txBody>
      </p:sp>
      <p:grpSp>
        <p:nvGrpSpPr>
          <p:cNvPr id="30" name="Grupo 29">
            <a:extLst>
              <a:ext uri="{FF2B5EF4-FFF2-40B4-BE49-F238E27FC236}">
                <a16:creationId xmlns:a16="http://schemas.microsoft.com/office/drawing/2014/main" id="{7871AC8B-B007-9173-30F8-F18042781D16}"/>
              </a:ext>
            </a:extLst>
          </p:cNvPr>
          <p:cNvGrpSpPr/>
          <p:nvPr/>
        </p:nvGrpSpPr>
        <p:grpSpPr>
          <a:xfrm>
            <a:off x="6945820" y="4404268"/>
            <a:ext cx="1754840" cy="785898"/>
            <a:chOff x="7478033" y="4512365"/>
            <a:chExt cx="4110847" cy="1129924"/>
          </a:xfrm>
        </p:grpSpPr>
        <p:sp>
          <p:nvSpPr>
            <p:cNvPr id="15" name="Flowchart: Manual Operation 27">
              <a:extLst>
                <a:ext uri="{FF2B5EF4-FFF2-40B4-BE49-F238E27FC236}">
                  <a16:creationId xmlns:a16="http://schemas.microsoft.com/office/drawing/2014/main" id="{08FDAA90-EB07-EFA7-B8E3-C4833FBB98E0}"/>
                </a:ext>
              </a:extLst>
            </p:cNvPr>
            <p:cNvSpPr/>
            <p:nvPr/>
          </p:nvSpPr>
          <p:spPr>
            <a:xfrm>
              <a:off x="7478033" y="5121943"/>
              <a:ext cx="4110847" cy="52034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tlCol="0" anchor="ctr"/>
            <a:lstStyle/>
            <a:p>
              <a:pPr defTabSz="715963">
                <a:spcBef>
                  <a:spcPts val="600"/>
                </a:spcBef>
              </a:pPr>
              <a:r>
                <a:rPr lang="en-GB" sz="1400" dirty="0">
                  <a:solidFill>
                    <a:schemeClr val="tx1"/>
                  </a:solidFill>
                </a:rPr>
                <a:t>Deployment funds</a:t>
              </a:r>
            </a:p>
          </p:txBody>
        </p:sp>
        <p:sp>
          <p:nvSpPr>
            <p:cNvPr id="18" name="Arrow: Right 10">
              <a:extLst>
                <a:ext uri="{FF2B5EF4-FFF2-40B4-BE49-F238E27FC236}">
                  <a16:creationId xmlns:a16="http://schemas.microsoft.com/office/drawing/2014/main" id="{785E890D-FEAD-034F-B66B-F7C90D65E2A0}"/>
                </a:ext>
              </a:extLst>
            </p:cNvPr>
            <p:cNvSpPr/>
            <p:nvPr/>
          </p:nvSpPr>
          <p:spPr>
            <a:xfrm rot="16200000">
              <a:off x="9405670" y="4581972"/>
              <a:ext cx="609578" cy="470363"/>
            </a:xfrm>
            <a:prstGeom prst="rightArrow">
              <a:avLst>
                <a:gd name="adj1" fmla="val 37280"/>
                <a:gd name="adj2" fmla="val 53444"/>
              </a:avLst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8" name="Flowchart: Manual Operation 27">
            <a:extLst>
              <a:ext uri="{FF2B5EF4-FFF2-40B4-BE49-F238E27FC236}">
                <a16:creationId xmlns:a16="http://schemas.microsoft.com/office/drawing/2014/main" id="{44DFDD65-4A64-1D78-E9DF-8B497CB24242}"/>
              </a:ext>
            </a:extLst>
          </p:cNvPr>
          <p:cNvSpPr/>
          <p:nvPr/>
        </p:nvSpPr>
        <p:spPr>
          <a:xfrm>
            <a:off x="6945820" y="5263463"/>
            <a:ext cx="3989271" cy="10038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marL="285750" indent="-285750" defTabSz="7159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Charges modulation: revenue neutral!</a:t>
            </a:r>
          </a:p>
          <a:p>
            <a:pPr marL="285750" indent="-285750" defTabSz="7159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</a:rPr>
              <a:t>Regulatory sandboxes with EASA?</a:t>
            </a:r>
          </a:p>
          <a:p>
            <a:pPr marL="285750" indent="-285750" defTabSz="7159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</a:rPr>
              <a:t>Performance reliefs periods?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8DCE9BCD-92B2-5679-7DAE-47281E115052}"/>
              </a:ext>
            </a:extLst>
          </p:cNvPr>
          <p:cNvSpPr>
            <a:spLocks noChangeAspect="1"/>
          </p:cNvSpPr>
          <p:nvPr/>
        </p:nvSpPr>
        <p:spPr>
          <a:xfrm rot="16200000">
            <a:off x="5965341" y="5378813"/>
            <a:ext cx="1627184" cy="27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i="1" dirty="0">
                <a:solidFill>
                  <a:schemeClr val="tx1"/>
                </a:solidFill>
              </a:rPr>
              <a:t>Lifting for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248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E471FED-1FE2-5047-C1C6-02F5322D1FF0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/>
              <a:t>BARCELONA </a:t>
            </a:r>
          </a:p>
          <a:p>
            <a:r>
              <a:rPr lang="en-GB"/>
              <a:t>Roc </a:t>
            </a:r>
            <a:r>
              <a:rPr lang="en-GB" err="1"/>
              <a:t>Boronat</a:t>
            </a:r>
            <a:r>
              <a:rPr lang="en-GB"/>
              <a:t>, 133, 10</a:t>
            </a:r>
            <a:r>
              <a:rPr lang="en-GB" baseline="30000"/>
              <a:t>th</a:t>
            </a:r>
            <a:r>
              <a:rPr lang="en-GB"/>
              <a:t> Floor</a:t>
            </a:r>
          </a:p>
          <a:p>
            <a:r>
              <a:rPr lang="en-GB"/>
              <a:t>08018 Barcelona, Spain </a:t>
            </a:r>
          </a:p>
          <a:p>
            <a:r>
              <a:rPr lang="en-GB"/>
              <a:t>T +34 934 632 300</a:t>
            </a:r>
          </a:p>
        </p:txBody>
      </p:sp>
    </p:spTree>
    <p:extLst>
      <p:ext uri="{BB962C8B-B14F-4D97-AF65-F5344CB8AC3E}">
        <p14:creationId xmlns:p14="http://schemas.microsoft.com/office/powerpoint/2010/main" val="2837571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4.04.28"/>
  <p:tag name="AS_TITLE" val="Aspose.Slides for .NET 4.0 Client Profile"/>
  <p:tag name="AS_VERSION" val="14.3.0.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Balance_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ALG Template 2025">
  <a:themeElements>
    <a:clrScheme name="Personalizado 7">
      <a:dk1>
        <a:srgbClr val="003478"/>
      </a:dk1>
      <a:lt1>
        <a:srgbClr val="FFFFFF"/>
      </a:lt1>
      <a:dk2>
        <a:srgbClr val="818E98"/>
      </a:dk2>
      <a:lt2>
        <a:srgbClr val="FFFFFF"/>
      </a:lt2>
      <a:accent1>
        <a:srgbClr val="003478"/>
      </a:accent1>
      <a:accent2>
        <a:srgbClr val="016FD0"/>
      </a:accent2>
      <a:accent3>
        <a:srgbClr val="818E98"/>
      </a:accent3>
      <a:accent4>
        <a:srgbClr val="FFAA52"/>
      </a:accent4>
      <a:accent5>
        <a:srgbClr val="FF7777"/>
      </a:accent5>
      <a:accent6>
        <a:srgbClr val="00B2A9"/>
      </a:accent6>
      <a:hlink>
        <a:srgbClr val="262C2F"/>
      </a:hlink>
      <a:folHlink>
        <a:srgbClr val="262C2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72000" rIns="72000" rtlCol="0">
        <a:spAutoFit/>
      </a:bodyPr>
      <a:lstStyle>
        <a:defPPr algn="l">
          <a:defRPr sz="1200" b="0" i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ción2" id="{4D029FA8-6E15-46D1-AD79-BCDF4AF1F2A8}" vid="{7C898DA1-4F9D-4CB1-ABF2-F4EBEDEBC302}"/>
    </a:ext>
  </a:extLst>
</a:theme>
</file>

<file path=ppt/theme/theme2.xml><?xml version="1.0" encoding="utf-8"?>
<a:theme xmlns:a="http://schemas.openxmlformats.org/drawingml/2006/main" name="New ALG Template 2023">
  <a:themeElements>
    <a:clrScheme name="Personalizado 7">
      <a:dk1>
        <a:srgbClr val="003478"/>
      </a:dk1>
      <a:lt1>
        <a:srgbClr val="FFFFFF"/>
      </a:lt1>
      <a:dk2>
        <a:srgbClr val="818E98"/>
      </a:dk2>
      <a:lt2>
        <a:srgbClr val="FFFFFF"/>
      </a:lt2>
      <a:accent1>
        <a:srgbClr val="003478"/>
      </a:accent1>
      <a:accent2>
        <a:srgbClr val="016FD0"/>
      </a:accent2>
      <a:accent3>
        <a:srgbClr val="818E98"/>
      </a:accent3>
      <a:accent4>
        <a:srgbClr val="FFAA52"/>
      </a:accent4>
      <a:accent5>
        <a:srgbClr val="FF7777"/>
      </a:accent5>
      <a:accent6>
        <a:srgbClr val="00B2A9"/>
      </a:accent6>
      <a:hlink>
        <a:srgbClr val="262C2F"/>
      </a:hlink>
      <a:folHlink>
        <a:srgbClr val="262C2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solidFill>
            <a:schemeClr val="accent1"/>
          </a:solidFill>
        </a:ln>
      </a:spPr>
      <a:bodyPr anchor="ctr"/>
      <a:lstStyle>
        <a:defPPr algn="ctr">
          <a:defRPr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3E62F05A-174B-4AB7-9E71-66415A47DB94}" vid="{B3EB9329-A64D-4DAD-8553-D19CB963F3D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2B7D8157C2BC469D6957BDA6620241" ma:contentTypeVersion="12" ma:contentTypeDescription="Create a new document." ma:contentTypeScope="" ma:versionID="d5bbb563b16df3063d3b1e7cd2462445">
  <xsd:schema xmlns:xsd="http://www.w3.org/2001/XMLSchema" xmlns:xs="http://www.w3.org/2001/XMLSchema" xmlns:p="http://schemas.microsoft.com/office/2006/metadata/properties" xmlns:ns2="f47fd8ab-4ac3-46e6-b646-18f57abba510" xmlns:ns3="f0e6aa64-33b7-4a50-89ae-8611a4affe80" targetNamespace="http://schemas.microsoft.com/office/2006/metadata/properties" ma:root="true" ma:fieldsID="ff2d7bdd3558fdf5de0595401808138d" ns2:_="" ns3:_="">
    <xsd:import namespace="f47fd8ab-4ac3-46e6-b646-18f57abba510"/>
    <xsd:import namespace="f0e6aa64-33b7-4a50-89ae-8611a4affe8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7fd8ab-4ac3-46e6-b646-18f57abba510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b6c8f4d1-0548-410f-82ab-424def43fff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e6aa64-33b7-4a50-89ae-8611a4affe8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bcb0860d-e270-445f-8059-0d580cba721c}" ma:internalName="TaxCatchAll" ma:showField="CatchAllData" ma:web="f0e6aa64-33b7-4a50-89ae-8611a4affe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0e6aa64-33b7-4a50-89ae-8611a4affe80" xsi:nil="true"/>
    <lcf76f155ced4ddcb4097134ff3c332f xmlns="f47fd8ab-4ac3-46e6-b646-18f57abba510">
      <Terms xmlns="http://schemas.microsoft.com/office/infopath/2007/PartnerControls"/>
    </lcf76f155ced4ddcb4097134ff3c332f>
  </documentManagement>
</p:properties>
</file>

<file path=customXml/item3.xml><?xml version="1.0" encoding="utf-8"?>
<PowerUser>PuTemplatesExtension.ALG.Colors_2025-01-31 09_18_01.dll_31/01/2025 9:05:33</PowerUser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1A2D294-B619-49B3-A8BC-D5267423BC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7fd8ab-4ac3-46e6-b646-18f57abba510"/>
    <ds:schemaRef ds:uri="f0e6aa64-33b7-4a50-89ae-8611a4affe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2A8625-6C70-4C8F-A0F9-ED9EE590533C}">
  <ds:schemaRefs>
    <ds:schemaRef ds:uri="http://purl.org/dc/elements/1.1/"/>
    <ds:schemaRef ds:uri="http://schemas.microsoft.com/office/2006/metadata/properties"/>
    <ds:schemaRef ds:uri="f47fd8ab-4ac3-46e6-b646-18f57abba510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f0e6aa64-33b7-4a50-89ae-8611a4affe80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55B2B09-B9AC-48B1-8EB0-A6697D635A48}">
  <ds:schemaRefs/>
</ds:datastoreItem>
</file>

<file path=customXml/itemProps4.xml><?xml version="1.0" encoding="utf-8"?>
<ds:datastoreItem xmlns:ds="http://schemas.openxmlformats.org/officeDocument/2006/customXml" ds:itemID="{0050FECE-3AE4-4652-86CB-66283891744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57</TotalTime>
  <Words>164</Words>
  <Application>Microsoft Office PowerPoint</Application>
  <PresentationFormat>Widescreen</PresentationFormat>
  <Paragraphs>45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New ALG Template 2025</vt:lpstr>
      <vt:lpstr>New ALG Template 2023</vt:lpstr>
      <vt:lpstr>think-cell Slide</vt:lpstr>
      <vt:lpstr>Organising SESAR: stakeholder engagement and next steps</vt:lpstr>
      <vt:lpstr>ATFM delay would increase exponentially if nothing is done</vt:lpstr>
      <vt:lpstr>Balancing ANSPs incentives and disincentives in view of RP5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nnunzio, Mariel Antonela</dc:creator>
  <cp:lastModifiedBy>Ranieri, Andrea</cp:lastModifiedBy>
  <cp:revision>34</cp:revision>
  <cp:lastPrinted>2023-09-20T11:59:58Z</cp:lastPrinted>
  <dcterms:created xsi:type="dcterms:W3CDTF">2025-05-02T09:23:45Z</dcterms:created>
  <dcterms:modified xsi:type="dcterms:W3CDTF">2025-11-20T15:0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2B7D8157C2BC469D6957BDA6620241</vt:lpwstr>
  </property>
  <property fmtid="{D5CDD505-2E9C-101B-9397-08002B2CF9AE}" pid="3" name="MediaServiceImageTags">
    <vt:lpwstr/>
  </property>
</Properties>
</file>